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gif" ContentType="image/gif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notesSlides/notesSlide2.xml" ContentType="application/vnd.openxmlformats-officedocument.presentationml.notesSl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3.xml" ContentType="application/vnd.openxmlformats-officedocument.presentationml.notesSlide+xml"/>
  <Override PartName="/ppt/tags/tag6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tags/tag7.xml" ContentType="application/vnd.openxmlformats-officedocument.presentationml.tags+xml"/>
  <Override PartName="/ppt/notesSlides/notesSlide6.xml" ContentType="application/vnd.openxmlformats-officedocument.presentationml.notesSlid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notesSlides/notesSlide7.xml" ContentType="application/vnd.openxmlformats-officedocument.presentationml.notesSlid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notesSlides/notesSlide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17"/>
  </p:notesMasterIdLst>
  <p:sldIdLst>
    <p:sldId id="257" r:id="rId2"/>
    <p:sldId id="290" r:id="rId3"/>
    <p:sldId id="334" r:id="rId4"/>
    <p:sldId id="335" r:id="rId5"/>
    <p:sldId id="331" r:id="rId6"/>
    <p:sldId id="339" r:id="rId7"/>
    <p:sldId id="336" r:id="rId8"/>
    <p:sldId id="337" r:id="rId9"/>
    <p:sldId id="323" r:id="rId10"/>
    <p:sldId id="295" r:id="rId11"/>
    <p:sldId id="333" r:id="rId12"/>
    <p:sldId id="298" r:id="rId13"/>
    <p:sldId id="342" r:id="rId14"/>
    <p:sldId id="341" r:id="rId15"/>
    <p:sldId id="286" r:id="rId16"/>
  </p:sldIdLst>
  <p:sldSz cx="12192000" cy="6858000"/>
  <p:notesSz cx="6858000" cy="9144000"/>
  <p:defaultTextStyle>
    <a:defPPr>
      <a:defRPr lang="pl-PL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5252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7794" autoAdjust="0"/>
    <p:restoredTop sz="87283" autoAdjust="0"/>
  </p:normalViewPr>
  <p:slideViewPr>
    <p:cSldViewPr snapToGrid="0">
      <p:cViewPr varScale="1">
        <p:scale>
          <a:sx n="60" d="100"/>
          <a:sy n="60" d="100"/>
        </p:scale>
        <p:origin x="324" y="7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10" Type="http://schemas.openxmlformats.org/officeDocument/2006/relationships/slide" Target="slides/slide9.xml"/><Relationship Id="rId19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77F2DA1-E2D0-41A5-96A3-50C30A3A88C1}" type="datetimeFigureOut">
              <a:rPr lang="en-US" smtClean="0"/>
              <a:t>3/22/2021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4318548-32E0-447E-8C50-3FCCF62FD50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6912787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4318548-32E0-447E-8C50-3FCCF62FD509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5194603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4318548-32E0-447E-8C50-3FCCF62FD509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8356866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4318548-32E0-447E-8C50-3FCCF62FD509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2957388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4318548-32E0-447E-8C50-3FCCF62FD509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1211452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4318548-32E0-447E-8C50-3FCCF62FD509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4353261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902AECF-5C0A-4F8B-AAFD-FF56EB65FD59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1735867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4318548-32E0-447E-8C50-3FCCF62FD509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4751262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A1D4A19-0CE6-4267-A3EC-ADEF74A97253}" type="slidenum">
              <a:rPr lang="en-US" smtClean="0"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2523344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72A0EF5-F8A7-4696-952E-3FD972C8E30B}" type="datetimeFigureOut">
              <a:rPr lang="en-US" smtClean="0"/>
              <a:t>3/22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D656FE-9D23-47F4-B489-3DD1935BFC7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9031076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72A0EF5-F8A7-4696-952E-3FD972C8E30B}" type="datetimeFigureOut">
              <a:rPr lang="en-US" smtClean="0"/>
              <a:t>3/22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D656FE-9D23-47F4-B489-3DD1935BFC7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2266757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72A0EF5-F8A7-4696-952E-3FD972C8E30B}" type="datetimeFigureOut">
              <a:rPr lang="en-US" smtClean="0"/>
              <a:t>3/22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D656FE-9D23-47F4-B489-3DD1935BFC7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132335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72A0EF5-F8A7-4696-952E-3FD972C8E30B}" type="datetimeFigureOut">
              <a:rPr lang="en-US" smtClean="0"/>
              <a:t>3/22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D656FE-9D23-47F4-B489-3DD1935BFC7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1272451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72A0EF5-F8A7-4696-952E-3FD972C8E30B}" type="datetimeFigureOut">
              <a:rPr lang="en-US" smtClean="0"/>
              <a:t>3/22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D656FE-9D23-47F4-B489-3DD1935BFC7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2042172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72A0EF5-F8A7-4696-952E-3FD972C8E30B}" type="datetimeFigureOut">
              <a:rPr lang="en-US" smtClean="0"/>
              <a:t>3/22/2021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D656FE-9D23-47F4-B489-3DD1935BFC7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6149131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72A0EF5-F8A7-4696-952E-3FD972C8E30B}" type="datetimeFigureOut">
              <a:rPr lang="en-US" smtClean="0"/>
              <a:t>3/22/2021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D656FE-9D23-47F4-B489-3DD1935BFC7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4540483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72A0EF5-F8A7-4696-952E-3FD972C8E30B}" type="datetimeFigureOut">
              <a:rPr lang="en-US" smtClean="0"/>
              <a:t>3/22/2021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D656FE-9D23-47F4-B489-3DD1935BFC7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7028251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72A0EF5-F8A7-4696-952E-3FD972C8E30B}" type="datetimeFigureOut">
              <a:rPr lang="en-US" smtClean="0"/>
              <a:t>3/22/2021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D656FE-9D23-47F4-B489-3DD1935BFC7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6123975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72A0EF5-F8A7-4696-952E-3FD972C8E30B}" type="datetimeFigureOut">
              <a:rPr lang="en-US" smtClean="0"/>
              <a:t>3/22/2021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D656FE-9D23-47F4-B489-3DD1935BFC7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3785924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72A0EF5-F8A7-4696-952E-3FD972C8E30B}" type="datetimeFigureOut">
              <a:rPr lang="en-US" smtClean="0"/>
              <a:t>3/22/2021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D656FE-9D23-47F4-B489-3DD1935BFC7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5264087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72A0EF5-F8A7-4696-952E-3FD972C8E30B}" type="datetimeFigureOut">
              <a:rPr lang="en-US" smtClean="0"/>
              <a:t>3/22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8D656FE-9D23-47F4-B489-3DD1935BFC7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905966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8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.bin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13" Type="http://schemas.openxmlformats.org/officeDocument/2006/relationships/image" Target="../media/image13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2.emf"/><Relationship Id="rId12" Type="http://schemas.openxmlformats.org/officeDocument/2006/relationships/image" Target="../media/image12.png"/><Relationship Id="rId2" Type="http://schemas.openxmlformats.org/officeDocument/2006/relationships/tags" Target="../tags/tag9.xml"/><Relationship Id="rId1" Type="http://schemas.openxmlformats.org/officeDocument/2006/relationships/vmlDrawing" Target="../drawings/vmlDrawing9.vml"/><Relationship Id="rId6" Type="http://schemas.openxmlformats.org/officeDocument/2006/relationships/oleObject" Target="../embeddings/oleObject1.bin"/><Relationship Id="rId11" Type="http://schemas.openxmlformats.org/officeDocument/2006/relationships/image" Target="../media/image11.png"/><Relationship Id="rId5" Type="http://schemas.openxmlformats.org/officeDocument/2006/relationships/image" Target="../media/image7.png"/><Relationship Id="rId10" Type="http://schemas.openxmlformats.org/officeDocument/2006/relationships/image" Target="../media/image10.png"/><Relationship Id="rId4" Type="http://schemas.openxmlformats.org/officeDocument/2006/relationships/notesSlide" Target="../notesSlides/notesSlide7.xml"/><Relationship Id="rId9" Type="http://schemas.openxmlformats.org/officeDocument/2006/relationships/image" Target="../media/image9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0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.bin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.bin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svg"/><Relationship Id="rId13" Type="http://schemas.openxmlformats.org/officeDocument/2006/relationships/image" Target="../media/image19.png"/><Relationship Id="rId7" Type="http://schemas.openxmlformats.org/officeDocument/2006/relationships/image" Target="../media/image16.png"/><Relationship Id="rId12" Type="http://schemas.openxmlformats.org/officeDocument/2006/relationships/image" Target="../media/image5.sv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1.svg"/><Relationship Id="rId11" Type="http://schemas.openxmlformats.org/officeDocument/2006/relationships/image" Target="../media/image18.png"/><Relationship Id="rId5" Type="http://schemas.openxmlformats.org/officeDocument/2006/relationships/image" Target="../media/image15.png"/><Relationship Id="rId10" Type="http://schemas.openxmlformats.org/officeDocument/2006/relationships/image" Target="../media/image22.svg"/><Relationship Id="rId4" Type="http://schemas.openxmlformats.org/officeDocument/2006/relationships/image" Target="../media/image3.svg"/><Relationship Id="rId9" Type="http://schemas.openxmlformats.org/officeDocument/2006/relationships/image" Target="../media/image17.png"/><Relationship Id="rId14" Type="http://schemas.openxmlformats.org/officeDocument/2006/relationships/image" Target="../media/image68.sv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png"/><Relationship Id="rId13" Type="http://schemas.openxmlformats.org/officeDocument/2006/relationships/image" Target="../media/image22.png"/><Relationship Id="rId18" Type="http://schemas.openxmlformats.org/officeDocument/2006/relationships/image" Target="../media/image16.png"/><Relationship Id="rId3" Type="http://schemas.openxmlformats.org/officeDocument/2006/relationships/image" Target="../media/image14.png"/><Relationship Id="rId21" Type="http://schemas.openxmlformats.org/officeDocument/2006/relationships/image" Target="../media/image20.svg"/><Relationship Id="rId7" Type="http://schemas.openxmlformats.org/officeDocument/2006/relationships/image" Target="../media/image20.jpeg"/><Relationship Id="rId12" Type="http://schemas.openxmlformats.org/officeDocument/2006/relationships/image" Target="../media/image11.svg"/><Relationship Id="rId17" Type="http://schemas.openxmlformats.org/officeDocument/2006/relationships/image" Target="../media/image24.png"/><Relationship Id="rId25" Type="http://schemas.openxmlformats.org/officeDocument/2006/relationships/image" Target="../media/image24.svg"/><Relationship Id="rId2" Type="http://schemas.openxmlformats.org/officeDocument/2006/relationships/notesSlide" Target="../notesSlides/notesSlide8.xml"/><Relationship Id="rId16" Type="http://schemas.openxmlformats.org/officeDocument/2006/relationships/image" Target="../media/image15.svg"/><Relationship Id="rId20" Type="http://schemas.openxmlformats.org/officeDocument/2006/relationships/image" Target="../media/image25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5.svg"/><Relationship Id="rId24" Type="http://schemas.openxmlformats.org/officeDocument/2006/relationships/image" Target="../media/image26.png"/><Relationship Id="rId5" Type="http://schemas.openxmlformats.org/officeDocument/2006/relationships/image" Target="../media/image18.png"/><Relationship Id="rId15" Type="http://schemas.openxmlformats.org/officeDocument/2006/relationships/image" Target="../media/image23.png"/><Relationship Id="rId23" Type="http://schemas.openxmlformats.org/officeDocument/2006/relationships/image" Target="../media/image22.svg"/><Relationship Id="rId19" Type="http://schemas.openxmlformats.org/officeDocument/2006/relationships/image" Target="../media/image18.svg"/><Relationship Id="rId4" Type="http://schemas.openxmlformats.org/officeDocument/2006/relationships/image" Target="../media/image3.svg"/><Relationship Id="rId9" Type="http://schemas.openxmlformats.org/officeDocument/2006/relationships/image" Target="../media/image15.png"/><Relationship Id="rId14" Type="http://schemas.openxmlformats.org/officeDocument/2006/relationships/image" Target="../media/image13.svg"/><Relationship Id="rId22" Type="http://schemas.openxmlformats.org/officeDocument/2006/relationships/image" Target="../media/image17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3.gif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.bin"/><Relationship Id="rId4" Type="http://schemas.openxmlformats.org/officeDocument/2006/relationships/notesSlide" Target="../notesSlides/notesSlide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6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.bin"/><Relationship Id="rId4" Type="http://schemas.openxmlformats.org/officeDocument/2006/relationships/notesSlide" Target="../notesSlides/notesSlide4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6.png"/><Relationship Id="rId2" Type="http://schemas.openxmlformats.org/officeDocument/2006/relationships/tags" Target="../tags/tag7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2C344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49027" y="1528998"/>
            <a:ext cx="5738446" cy="2294160"/>
          </a:xfrm>
        </p:spPr>
        <p:txBody>
          <a:bodyPr>
            <a:noAutofit/>
          </a:bodyPr>
          <a:lstStyle/>
          <a:p>
            <a:pPr algn="l"/>
            <a:r>
              <a:rPr lang="en-US" sz="4000" dirty="0" smtClean="0">
                <a:solidFill>
                  <a:schemeClr val="bg1"/>
                </a:solidFill>
                <a:latin typeface="+mn-lt"/>
                <a:ea typeface="Lato Light" panose="020F0502020204030203" pitchFamily="34" charset="0"/>
                <a:cs typeface="Lato Light" panose="020F0502020204030203" pitchFamily="34" charset="0"/>
              </a:rPr>
              <a:t>Optimizing Neural Network Weights &amp; Architecture Using Evolutionary Algorithm</a:t>
            </a:r>
            <a:endParaRPr lang="en-US" sz="4000" dirty="0">
              <a:solidFill>
                <a:schemeClr val="bg1"/>
              </a:solidFill>
              <a:latin typeface="+mn-lt"/>
              <a:ea typeface="Lato Light" panose="020F0502020204030203" pitchFamily="34" charset="0"/>
              <a:cs typeface="Lato Light" panose="020F0502020204030203" pitchFamily="34" charset="0"/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49027" y="3863990"/>
            <a:ext cx="4782086" cy="565516"/>
          </a:xfrm>
        </p:spPr>
        <p:txBody>
          <a:bodyPr>
            <a:normAutofit/>
          </a:bodyPr>
          <a:lstStyle/>
          <a:p>
            <a:pPr algn="l"/>
            <a:r>
              <a:rPr lang="en-US" sz="2000" dirty="0" smtClean="0">
                <a:solidFill>
                  <a:srgbClr val="7AC5DD"/>
                </a:solidFill>
                <a:ea typeface="Lato Light" panose="020F0502020204030203" pitchFamily="34" charset="0"/>
                <a:cs typeface="Lato Light" panose="020F0502020204030203" pitchFamily="34" charset="0"/>
              </a:rPr>
              <a:t>Research Methodology - Dr. Jinan </a:t>
            </a:r>
            <a:r>
              <a:rPr lang="en-US" sz="2000" dirty="0" err="1" smtClean="0">
                <a:solidFill>
                  <a:srgbClr val="7AC5DD"/>
                </a:solidFill>
                <a:ea typeface="Lato Light" panose="020F0502020204030203" pitchFamily="34" charset="0"/>
                <a:cs typeface="Lato Light" panose="020F0502020204030203" pitchFamily="34" charset="0"/>
              </a:rPr>
              <a:t>Fiaidhi</a:t>
            </a:r>
            <a:endParaRPr lang="en-US" sz="2000" dirty="0">
              <a:solidFill>
                <a:srgbClr val="7AC5DD"/>
              </a:solidFill>
              <a:ea typeface="Lato Light" panose="020F0502020204030203" pitchFamily="34" charset="0"/>
              <a:cs typeface="Lato Light" panose="020F0502020204030203" pitchFamily="34" charset="0"/>
            </a:endParaRPr>
          </a:p>
        </p:txBody>
      </p:sp>
      <p:sp>
        <p:nvSpPr>
          <p:cNvPr id="4" name="Subtitle 2"/>
          <p:cNvSpPr txBox="1">
            <a:spLocks/>
          </p:cNvSpPr>
          <p:nvPr/>
        </p:nvSpPr>
        <p:spPr>
          <a:xfrm>
            <a:off x="449027" y="4429506"/>
            <a:ext cx="3557387" cy="181355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R="0" lvl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en-US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ea typeface="Lato" panose="020F0502020204030203" pitchFamily="34" charset="0"/>
                <a:cs typeface="Lato" panose="020F0502020204030203" pitchFamily="34" charset="0"/>
              </a:rPr>
              <a:t>Group 6</a:t>
            </a:r>
          </a:p>
          <a:p>
            <a:pPr marR="0" lvl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en-US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ea typeface="Lato" panose="020F0502020204030203" pitchFamily="34" charset="0"/>
                <a:cs typeface="Lato" panose="020F0502020204030203" pitchFamily="34" charset="0"/>
              </a:rPr>
              <a:t>Kadakia,</a:t>
            </a:r>
            <a:r>
              <a:rPr kumimoji="0" lang="en-US" sz="1600" b="0" i="0" u="none" strike="noStrike" kern="1200" cap="none" spc="0" normalizeH="0" noProof="0" dirty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ea typeface="Lato" panose="020F0502020204030203" pitchFamily="34" charset="0"/>
                <a:cs typeface="Lato" panose="020F0502020204030203" pitchFamily="34" charset="0"/>
              </a:rPr>
              <a:t> Avish (1132452)</a:t>
            </a:r>
          </a:p>
          <a:p>
            <a:pPr marR="0" lvl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sz="1600" dirty="0" smtClean="0">
                <a:solidFill>
                  <a:prstClr val="white">
                    <a:lumMod val="65000"/>
                  </a:prstClr>
                </a:solidFill>
                <a:ea typeface="Lato" panose="020F0502020204030203" pitchFamily="34" charset="0"/>
                <a:cs typeface="Lato" panose="020F0502020204030203" pitchFamily="34" charset="0"/>
              </a:rPr>
              <a:t>Bhatti, </a:t>
            </a:r>
            <a:r>
              <a:rPr lang="en-US" sz="1600" dirty="0" err="1" smtClean="0">
                <a:solidFill>
                  <a:prstClr val="white">
                    <a:lumMod val="65000"/>
                  </a:prstClr>
                </a:solidFill>
                <a:ea typeface="Lato" panose="020F0502020204030203" pitchFamily="34" charset="0"/>
                <a:cs typeface="Lato" panose="020F0502020204030203" pitchFamily="34" charset="0"/>
              </a:rPr>
              <a:t>Manpreet</a:t>
            </a:r>
            <a:r>
              <a:rPr lang="en-US" sz="1600" dirty="0" smtClean="0">
                <a:solidFill>
                  <a:prstClr val="white">
                    <a:lumMod val="65000"/>
                  </a:prstClr>
                </a:solidFill>
                <a:ea typeface="Lato" panose="020F0502020204030203" pitchFamily="34" charset="0"/>
                <a:cs typeface="Lato" panose="020F0502020204030203" pitchFamily="34" charset="0"/>
              </a:rPr>
              <a:t> (1142587)</a:t>
            </a:r>
            <a:endParaRPr kumimoji="0" lang="en-US" sz="1600" b="0" i="0" u="none" strike="noStrike" kern="1200" cap="none" spc="0" normalizeH="0" noProof="0" dirty="0" smtClean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ea typeface="Lato" panose="020F0502020204030203" pitchFamily="34" charset="0"/>
              <a:cs typeface="Lato" panose="020F0502020204030203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7" name="Rounded Rectangle 16"/>
          <p:cNvSpPr/>
          <p:nvPr/>
        </p:nvSpPr>
        <p:spPr>
          <a:xfrm rot="19016290">
            <a:off x="5753597" y="374435"/>
            <a:ext cx="4339570" cy="901549"/>
          </a:xfrm>
          <a:prstGeom prst="roundRect">
            <a:avLst>
              <a:gd name="adj" fmla="val 50000"/>
            </a:avLst>
          </a:prstGeom>
          <a:solidFill>
            <a:srgbClr val="7AC5D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32" name="Group 31"/>
          <p:cNvGrpSpPr/>
          <p:nvPr/>
        </p:nvGrpSpPr>
        <p:grpSpPr>
          <a:xfrm>
            <a:off x="3235456" y="2001292"/>
            <a:ext cx="10571518" cy="3008510"/>
            <a:chOff x="3235456" y="2001292"/>
            <a:chExt cx="10571518" cy="3008510"/>
          </a:xfrm>
          <a:blipFill>
            <a:blip r:embed="rId3"/>
            <a:stretch>
              <a:fillRect/>
            </a:stretch>
          </a:blipFill>
        </p:grpSpPr>
        <p:sp>
          <p:nvSpPr>
            <p:cNvPr id="18" name="Rounded Rectangle 17"/>
            <p:cNvSpPr/>
            <p:nvPr/>
          </p:nvSpPr>
          <p:spPr>
            <a:xfrm rot="18970178">
              <a:off x="3235456" y="2095153"/>
              <a:ext cx="8963400" cy="901549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" name="Rounded Rectangle 18"/>
            <p:cNvSpPr/>
            <p:nvPr/>
          </p:nvSpPr>
          <p:spPr>
            <a:xfrm rot="18970178">
              <a:off x="5172475" y="2001292"/>
              <a:ext cx="8500514" cy="1299334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0" name="Rounded Rectangle 29"/>
            <p:cNvSpPr/>
            <p:nvPr/>
          </p:nvSpPr>
          <p:spPr>
            <a:xfrm rot="18970178">
              <a:off x="7651845" y="2775311"/>
              <a:ext cx="6155129" cy="1299334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1" name="Rounded Rectangle 30"/>
            <p:cNvSpPr/>
            <p:nvPr/>
          </p:nvSpPr>
          <p:spPr>
            <a:xfrm rot="18970178">
              <a:off x="10096850" y="3710468"/>
              <a:ext cx="3509434" cy="1299334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5" name="Group 4"/>
          <p:cNvGrpSpPr/>
          <p:nvPr/>
        </p:nvGrpSpPr>
        <p:grpSpPr>
          <a:xfrm>
            <a:off x="190500" y="0"/>
            <a:ext cx="12001500" cy="6858003"/>
            <a:chOff x="190500" y="0"/>
            <a:chExt cx="12001500" cy="6858003"/>
          </a:xfrm>
        </p:grpSpPr>
        <p:sp>
          <p:nvSpPr>
            <p:cNvPr id="33" name="Rectangle 32"/>
            <p:cNvSpPr/>
            <p:nvPr/>
          </p:nvSpPr>
          <p:spPr>
            <a:xfrm>
              <a:off x="190500" y="0"/>
              <a:ext cx="12001500" cy="220980"/>
            </a:xfrm>
            <a:prstGeom prst="rect">
              <a:avLst/>
            </a:prstGeom>
            <a:solidFill>
              <a:srgbClr val="2C344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4" name="Rectangle 33"/>
            <p:cNvSpPr/>
            <p:nvPr/>
          </p:nvSpPr>
          <p:spPr>
            <a:xfrm rot="5400000">
              <a:off x="8635997" y="3302002"/>
              <a:ext cx="6858003" cy="253999"/>
            </a:xfrm>
            <a:prstGeom prst="rect">
              <a:avLst/>
            </a:prstGeom>
            <a:solidFill>
              <a:srgbClr val="2C344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3232032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Click="0">
        <p:fade/>
      </p:transition>
    </mc:Choice>
    <mc:Fallback xmlns="">
      <p:transition spd="med" advClick="0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2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0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22" presetClass="entr" presetSubtype="8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3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6" dur="10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2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9" dur="10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3" grpId="0" build="p"/>
      <p:bldP spid="4" grpId="0"/>
      <p:bldP spid="17" grpId="0" animBg="1"/>
    </p:bld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15584CA-666C-473A-9746-5F1F99C24F8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40"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C15584CA-666C-473A-9746-5F1F99C24F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0F8D9E86-4235-415D-B5EA-770BAE2641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2766219"/>
            <a:ext cx="12192000" cy="1325563"/>
          </a:xfrm>
        </p:spPr>
        <p:txBody>
          <a:bodyPr vert="horz"/>
          <a:lstStyle/>
          <a:p>
            <a:pPr algn="ctr"/>
            <a:r>
              <a:rPr lang="en-US" dirty="0" smtClean="0"/>
              <a:t>Building Blocks</a:t>
            </a:r>
            <a:endParaRPr lang="en-US" dirty="0"/>
          </a:p>
        </p:txBody>
      </p:sp>
      <p:sp>
        <p:nvSpPr>
          <p:cNvPr id="84" name="Slide Number Placeholder 2">
            <a:extLst>
              <a:ext uri="{FF2B5EF4-FFF2-40B4-BE49-F238E27FC236}">
                <a16:creationId xmlns:a16="http://schemas.microsoft.com/office/drawing/2014/main" id="{717AF783-CABC-4AF2-809A-1DCEABA2CFFD}"/>
              </a:ext>
            </a:extLst>
          </p:cNvPr>
          <p:cNvSpPr txBox="1">
            <a:spLocks/>
          </p:cNvSpPr>
          <p:nvPr/>
        </p:nvSpPr>
        <p:spPr>
          <a:xfrm>
            <a:off x="11604794" y="298450"/>
            <a:ext cx="431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pl-PL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ID" dirty="0" smtClean="0">
                <a:solidFill>
                  <a:schemeClr val="tx1"/>
                </a:solidFill>
              </a:rPr>
              <a:t>0</a:t>
            </a:r>
            <a:fld id="{2CBBA7E6-4538-4F86-A84E-2F9DAC94FB18}" type="slidenum">
              <a:rPr lang="en-ID" smtClean="0">
                <a:solidFill>
                  <a:schemeClr val="tx1"/>
                </a:solidFill>
              </a:rPr>
              <a:pPr algn="ctr"/>
              <a:t>10</a:t>
            </a:fld>
            <a:endParaRPr lang="en-ID" dirty="0">
              <a:solidFill>
                <a:schemeClr val="tx1"/>
              </a:solidFill>
            </a:endParaRPr>
          </a:p>
        </p:txBody>
      </p:sp>
      <p:cxnSp>
        <p:nvCxnSpPr>
          <p:cNvPr id="85" name="Straight Connector 84">
            <a:extLst>
              <a:ext uri="{FF2B5EF4-FFF2-40B4-BE49-F238E27FC236}">
                <a16:creationId xmlns:a16="http://schemas.microsoft.com/office/drawing/2014/main" id="{E76D8B24-ABF5-4567-B965-7BD12085D9C8}"/>
              </a:ext>
            </a:extLst>
          </p:cNvPr>
          <p:cNvCxnSpPr>
            <a:cxnSpLocks/>
          </p:cNvCxnSpPr>
          <p:nvPr/>
        </p:nvCxnSpPr>
        <p:spPr>
          <a:xfrm>
            <a:off x="11798469" y="723906"/>
            <a:ext cx="0" cy="6134094"/>
          </a:xfrm>
          <a:prstGeom prst="line">
            <a:avLst/>
          </a:prstGeom>
          <a:ln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9091909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2778" name="Picture 10" descr="www - Revision 15282: /branches/rest2web/beta.python.org/resources/design/ logo"/>
          <p:cNvPicPr>
            <a:picLocks noChangeAspect="1" noChangeArrowheads="1"/>
          </p:cNvPicPr>
          <p:nvPr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13737" y="2126208"/>
            <a:ext cx="6709688" cy="29103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15584CA-666C-473A-9746-5F1F99C24F8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795" name="think-cell Slide" r:id="rId6" imgW="383" imgH="384" progId="TCLayout.ActiveDocument.1">
                  <p:embed/>
                </p:oleObj>
              </mc:Choice>
              <mc:Fallback>
                <p:oleObj name="think-cell Slide" r:id="rId6" imgW="383" imgH="38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C15584CA-666C-473A-9746-5F1F99C24F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Slide Number Placeholder 2">
            <a:extLst>
              <a:ext uri="{FF2B5EF4-FFF2-40B4-BE49-F238E27FC236}">
                <a16:creationId xmlns:a16="http://schemas.microsoft.com/office/drawing/2014/main" id="{717AF783-CABC-4AF2-809A-1DCEABA2CFFD}"/>
              </a:ext>
            </a:extLst>
          </p:cNvPr>
          <p:cNvSpPr txBox="1">
            <a:spLocks/>
          </p:cNvSpPr>
          <p:nvPr/>
        </p:nvSpPr>
        <p:spPr>
          <a:xfrm>
            <a:off x="11604794" y="298450"/>
            <a:ext cx="431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pl-PL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ID" dirty="0" smtClean="0">
                <a:solidFill>
                  <a:schemeClr val="tx1"/>
                </a:solidFill>
              </a:rPr>
              <a:t>0</a:t>
            </a:r>
            <a:fld id="{2CBBA7E6-4538-4F86-A84E-2F9DAC94FB18}" type="slidenum">
              <a:rPr lang="en-ID" smtClean="0">
                <a:solidFill>
                  <a:schemeClr val="tx1"/>
                </a:solidFill>
              </a:rPr>
              <a:pPr algn="ctr"/>
              <a:t>11</a:t>
            </a:fld>
            <a:endParaRPr lang="en-ID" dirty="0">
              <a:solidFill>
                <a:schemeClr val="tx1"/>
              </a:solidFill>
            </a:endParaRPr>
          </a:p>
        </p:txBody>
      </p:sp>
      <p:cxnSp>
        <p:nvCxnSpPr>
          <p:cNvPr id="85" name="Straight Connector 84">
            <a:extLst>
              <a:ext uri="{FF2B5EF4-FFF2-40B4-BE49-F238E27FC236}">
                <a16:creationId xmlns:a16="http://schemas.microsoft.com/office/drawing/2014/main" id="{E76D8B24-ABF5-4567-B965-7BD12085D9C8}"/>
              </a:ext>
            </a:extLst>
          </p:cNvPr>
          <p:cNvCxnSpPr>
            <a:cxnSpLocks/>
          </p:cNvCxnSpPr>
          <p:nvPr/>
        </p:nvCxnSpPr>
        <p:spPr>
          <a:xfrm>
            <a:off x="11798469" y="723906"/>
            <a:ext cx="0" cy="6134094"/>
          </a:xfrm>
          <a:prstGeom prst="line">
            <a:avLst/>
          </a:prstGeom>
          <a:ln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32770" name="Picture 2" descr="React logo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6062" y="2911089"/>
            <a:ext cx="2515501" cy="11772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152607" y="1023032"/>
            <a:ext cx="4501311" cy="989717"/>
          </a:xfrm>
          <a:prstGeom prst="rect">
            <a:avLst/>
          </a:prstGeom>
        </p:spPr>
      </p:pic>
      <p:pic>
        <p:nvPicPr>
          <p:cNvPr id="32776" name="Picture 8" descr="Creating a Video Chat Application using Flask and Agora.io | by Christopher  Lambert | Medium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707999" y="2714557"/>
            <a:ext cx="2747570" cy="13737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2782" name="Picture 14" descr="MongoDB logo and symbol, meaning, history, PNG"/>
          <p:cNvPicPr>
            <a:picLocks noChangeAspect="1" noChangeArrowheads="1"/>
          </p:cNvPicPr>
          <p:nvPr/>
        </p:nvPicPr>
        <p:blipFill>
          <a:blip r:embed="rId11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74787" y="3989099"/>
            <a:ext cx="3680301" cy="23001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2784" name="Picture 16" descr="Bootstrap Logo Vector - (.SVG + .PNG) - LogoVectorSeek.Com"/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99022" y="552358"/>
            <a:ext cx="3891959" cy="21621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2787" name="Picture 19" descr="Keras: the Python deep learning API"/>
          <p:cNvPicPr>
            <a:picLocks noChangeAspect="1" noChangeArrowheads="1"/>
          </p:cNvPicPr>
          <p:nvPr/>
        </p:nvPicPr>
        <p:blipFill>
          <a:blip r:embed="rId1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58389" y="4828591"/>
            <a:ext cx="2993879" cy="868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8509714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7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277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7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27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7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3278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7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327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7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3278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7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3278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15584CA-666C-473A-9746-5F1F99C24F8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65"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C15584CA-666C-473A-9746-5F1F99C24F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0F8D9E86-4235-415D-B5EA-770BAE2641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2646298"/>
            <a:ext cx="12191999" cy="1325563"/>
          </a:xfrm>
        </p:spPr>
        <p:txBody>
          <a:bodyPr vert="horz"/>
          <a:lstStyle/>
          <a:p>
            <a:pPr algn="ctr"/>
            <a:r>
              <a:rPr lang="en-US" sz="4400" dirty="0" smtClean="0">
                <a:cs typeface="Segoe UI Light" panose="020B0502040204020203" pitchFamily="34" charset="0"/>
              </a:rPr>
              <a:t>Demo </a:t>
            </a:r>
            <a:r>
              <a:rPr lang="en-AT" sz="4400" dirty="0" smtClean="0">
                <a:cs typeface="Segoe UI Light" panose="020B0502040204020203" pitchFamily="34" charset="0"/>
              </a:rPr>
              <a:t>…</a:t>
            </a:r>
            <a:endParaRPr lang="en-US" dirty="0"/>
          </a:p>
        </p:txBody>
      </p:sp>
      <p:sp>
        <p:nvSpPr>
          <p:cNvPr id="84" name="Slide Number Placeholder 2">
            <a:extLst>
              <a:ext uri="{FF2B5EF4-FFF2-40B4-BE49-F238E27FC236}">
                <a16:creationId xmlns:a16="http://schemas.microsoft.com/office/drawing/2014/main" id="{717AF783-CABC-4AF2-809A-1DCEABA2CFFD}"/>
              </a:ext>
            </a:extLst>
          </p:cNvPr>
          <p:cNvSpPr txBox="1">
            <a:spLocks/>
          </p:cNvSpPr>
          <p:nvPr/>
        </p:nvSpPr>
        <p:spPr>
          <a:xfrm>
            <a:off x="11604794" y="298450"/>
            <a:ext cx="431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pl-PL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ID" dirty="0" smtClean="0">
                <a:solidFill>
                  <a:schemeClr val="tx1"/>
                </a:solidFill>
              </a:rPr>
              <a:t>0</a:t>
            </a:r>
            <a:fld id="{2CBBA7E6-4538-4F86-A84E-2F9DAC94FB18}" type="slidenum">
              <a:rPr lang="en-ID" smtClean="0">
                <a:solidFill>
                  <a:schemeClr val="tx1"/>
                </a:solidFill>
              </a:rPr>
              <a:pPr algn="ctr"/>
              <a:t>12</a:t>
            </a:fld>
            <a:endParaRPr lang="en-ID" dirty="0">
              <a:solidFill>
                <a:schemeClr val="tx1"/>
              </a:solidFill>
            </a:endParaRPr>
          </a:p>
        </p:txBody>
      </p:sp>
      <p:cxnSp>
        <p:nvCxnSpPr>
          <p:cNvPr id="85" name="Straight Connector 84">
            <a:extLst>
              <a:ext uri="{FF2B5EF4-FFF2-40B4-BE49-F238E27FC236}">
                <a16:creationId xmlns:a16="http://schemas.microsoft.com/office/drawing/2014/main" id="{E76D8B24-ABF5-4567-B965-7BD12085D9C8}"/>
              </a:ext>
            </a:extLst>
          </p:cNvPr>
          <p:cNvCxnSpPr>
            <a:cxnSpLocks/>
          </p:cNvCxnSpPr>
          <p:nvPr/>
        </p:nvCxnSpPr>
        <p:spPr>
          <a:xfrm>
            <a:off x="11798469" y="723906"/>
            <a:ext cx="0" cy="6134094"/>
          </a:xfrm>
          <a:prstGeom prst="line">
            <a:avLst/>
          </a:prstGeom>
          <a:ln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6132650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15584CA-666C-473A-9746-5F1F99C24F8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040"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C15584CA-666C-473A-9746-5F1F99C24F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0F8D9E86-4235-415D-B5EA-770BAE2641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2646298"/>
            <a:ext cx="12191999" cy="1325563"/>
          </a:xfrm>
        </p:spPr>
        <p:txBody>
          <a:bodyPr vert="horz"/>
          <a:lstStyle/>
          <a:p>
            <a:pPr algn="ctr"/>
            <a:r>
              <a:rPr lang="en-US" dirty="0">
                <a:solidFill>
                  <a:schemeClr val="tx1">
                    <a:lumMod val="85000"/>
                    <a:lumOff val="15000"/>
                  </a:schemeClr>
                </a:solidFill>
              </a:rPr>
              <a:t>Where do we go from here ?</a:t>
            </a:r>
            <a:endParaRPr lang="en-US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84" name="Slide Number Placeholder 2">
            <a:extLst>
              <a:ext uri="{FF2B5EF4-FFF2-40B4-BE49-F238E27FC236}">
                <a16:creationId xmlns:a16="http://schemas.microsoft.com/office/drawing/2014/main" id="{717AF783-CABC-4AF2-809A-1DCEABA2CFFD}"/>
              </a:ext>
            </a:extLst>
          </p:cNvPr>
          <p:cNvSpPr txBox="1">
            <a:spLocks/>
          </p:cNvSpPr>
          <p:nvPr/>
        </p:nvSpPr>
        <p:spPr>
          <a:xfrm>
            <a:off x="11604794" y="298450"/>
            <a:ext cx="431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pl-PL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ID" dirty="0" smtClean="0">
                <a:solidFill>
                  <a:schemeClr val="tx1"/>
                </a:solidFill>
              </a:rPr>
              <a:t>0</a:t>
            </a:r>
            <a:fld id="{2CBBA7E6-4538-4F86-A84E-2F9DAC94FB18}" type="slidenum">
              <a:rPr lang="en-ID" smtClean="0">
                <a:solidFill>
                  <a:schemeClr val="tx1"/>
                </a:solidFill>
              </a:rPr>
              <a:pPr algn="ctr"/>
              <a:t>13</a:t>
            </a:fld>
            <a:endParaRPr lang="en-ID" dirty="0">
              <a:solidFill>
                <a:schemeClr val="tx1"/>
              </a:solidFill>
            </a:endParaRPr>
          </a:p>
        </p:txBody>
      </p:sp>
      <p:cxnSp>
        <p:nvCxnSpPr>
          <p:cNvPr id="85" name="Straight Connector 84">
            <a:extLst>
              <a:ext uri="{FF2B5EF4-FFF2-40B4-BE49-F238E27FC236}">
                <a16:creationId xmlns:a16="http://schemas.microsoft.com/office/drawing/2014/main" id="{E76D8B24-ABF5-4567-B965-7BD12085D9C8}"/>
              </a:ext>
            </a:extLst>
          </p:cNvPr>
          <p:cNvCxnSpPr>
            <a:cxnSpLocks/>
          </p:cNvCxnSpPr>
          <p:nvPr/>
        </p:nvCxnSpPr>
        <p:spPr>
          <a:xfrm>
            <a:off x="11798469" y="723906"/>
            <a:ext cx="0" cy="6134094"/>
          </a:xfrm>
          <a:prstGeom prst="line">
            <a:avLst/>
          </a:prstGeom>
          <a:ln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6649346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Graphic 460">
            <a:extLst>
              <a:ext uri="{FF2B5EF4-FFF2-40B4-BE49-F238E27FC236}">
                <a16:creationId xmlns:a16="http://schemas.microsoft.com/office/drawing/2014/main" id="{435A808E-B9F2-4067-A509-F53B791B4FCE}"/>
              </a:ext>
            </a:extLst>
          </p:cNvPr>
          <p:cNvSpPr/>
          <p:nvPr/>
        </p:nvSpPr>
        <p:spPr>
          <a:xfrm flipH="1">
            <a:off x="11100626" y="3069465"/>
            <a:ext cx="1534375" cy="2650740"/>
          </a:xfrm>
          <a:custGeom>
            <a:avLst/>
            <a:gdLst>
              <a:gd name="connsiteX0" fmla="*/ 1004503 w 1345026"/>
              <a:gd name="connsiteY0" fmla="*/ 1498038 h 1920352"/>
              <a:gd name="connsiteX1" fmla="*/ 491009 w 1345026"/>
              <a:gd name="connsiteY1" fmla="*/ 967592 h 1920352"/>
              <a:gd name="connsiteX2" fmla="*/ 1004503 w 1345026"/>
              <a:gd name="connsiteY2" fmla="*/ 1488928 h 1920352"/>
              <a:gd name="connsiteX3" fmla="*/ 965758 w 1345026"/>
              <a:gd name="connsiteY3" fmla="*/ 1130761 h 1920352"/>
              <a:gd name="connsiteX4" fmla="*/ 556738 w 1345026"/>
              <a:gd name="connsiteY4" fmla="*/ 764984 h 1920352"/>
              <a:gd name="connsiteX5" fmla="*/ 961606 w 1345026"/>
              <a:gd name="connsiteY5" fmla="*/ 1112772 h 1920352"/>
              <a:gd name="connsiteX6" fmla="*/ 855517 w 1345026"/>
              <a:gd name="connsiteY6" fmla="*/ 809611 h 1920352"/>
              <a:gd name="connsiteX7" fmla="*/ 485473 w 1345026"/>
              <a:gd name="connsiteY7" fmla="*/ 539314 h 1920352"/>
              <a:gd name="connsiteX8" fmla="*/ 831071 w 1345026"/>
              <a:gd name="connsiteY8" fmla="*/ 760026 h 1920352"/>
              <a:gd name="connsiteX9" fmla="*/ 695807 w 1345026"/>
              <a:gd name="connsiteY9" fmla="*/ 543350 h 1920352"/>
              <a:gd name="connsiteX10" fmla="*/ 680239 w 1345026"/>
              <a:gd name="connsiteY10" fmla="*/ 547847 h 1920352"/>
              <a:gd name="connsiteX11" fmla="*/ 372350 w 1345026"/>
              <a:gd name="connsiteY11" fmla="*/ 368303 h 1920352"/>
              <a:gd name="connsiteX12" fmla="*/ 654870 w 1345026"/>
              <a:gd name="connsiteY12" fmla="*/ 490767 h 1920352"/>
              <a:gd name="connsiteX13" fmla="*/ 552240 w 1345026"/>
              <a:gd name="connsiteY13" fmla="*/ 376605 h 1920352"/>
              <a:gd name="connsiteX14" fmla="*/ 471636 w 1345026"/>
              <a:gd name="connsiteY14" fmla="*/ 364267 h 1920352"/>
              <a:gd name="connsiteX15" fmla="*/ 191307 w 1345026"/>
              <a:gd name="connsiteY15" fmla="*/ 241457 h 1920352"/>
              <a:gd name="connsiteX16" fmla="*/ 541286 w 1345026"/>
              <a:gd name="connsiteY16" fmla="*/ 365651 h 1920352"/>
              <a:gd name="connsiteX17" fmla="*/ 382728 w 1345026"/>
              <a:gd name="connsiteY17" fmla="*/ 227850 h 1920352"/>
              <a:gd name="connsiteX18" fmla="*/ 376501 w 1345026"/>
              <a:gd name="connsiteY18" fmla="*/ 228542 h 1920352"/>
              <a:gd name="connsiteX19" fmla="*/ 167552 w 1345026"/>
              <a:gd name="connsiteY19" fmla="*/ 145515 h 1920352"/>
              <a:gd name="connsiteX20" fmla="*/ 0 w 1345026"/>
              <a:gd name="connsiteY20" fmla="*/ 1834 h 1920352"/>
              <a:gd name="connsiteX21" fmla="*/ 395067 w 1345026"/>
              <a:gd name="connsiteY21" fmla="*/ 226697 h 1920352"/>
              <a:gd name="connsiteX22" fmla="*/ 394144 w 1345026"/>
              <a:gd name="connsiteY22" fmla="*/ 226812 h 1920352"/>
              <a:gd name="connsiteX23" fmla="*/ 538749 w 1345026"/>
              <a:gd name="connsiteY23" fmla="*/ 348815 h 1920352"/>
              <a:gd name="connsiteX24" fmla="*/ 401294 w 1345026"/>
              <a:gd name="connsiteY24" fmla="*/ 42194 h 1920352"/>
              <a:gd name="connsiteX25" fmla="*/ 558698 w 1345026"/>
              <a:gd name="connsiteY25" fmla="*/ 333363 h 1920352"/>
              <a:gd name="connsiteX26" fmla="*/ 549934 w 1345026"/>
              <a:gd name="connsiteY26" fmla="*/ 359654 h 1920352"/>
              <a:gd name="connsiteX27" fmla="*/ 709645 w 1345026"/>
              <a:gd name="connsiteY27" fmla="*/ 539429 h 1920352"/>
              <a:gd name="connsiteX28" fmla="*/ 709645 w 1345026"/>
              <a:gd name="connsiteY28" fmla="*/ 539429 h 1920352"/>
              <a:gd name="connsiteX29" fmla="*/ 709645 w 1345026"/>
              <a:gd name="connsiteY29" fmla="*/ 539429 h 1920352"/>
              <a:gd name="connsiteX30" fmla="*/ 731554 w 1345026"/>
              <a:gd name="connsiteY30" fmla="*/ 569065 h 1920352"/>
              <a:gd name="connsiteX31" fmla="*/ 703764 w 1345026"/>
              <a:gd name="connsiteY31" fmla="*/ 99274 h 1920352"/>
              <a:gd name="connsiteX32" fmla="*/ 735014 w 1345026"/>
              <a:gd name="connsiteY32" fmla="*/ 573793 h 1920352"/>
              <a:gd name="connsiteX33" fmla="*/ 877427 w 1345026"/>
              <a:gd name="connsiteY33" fmla="*/ 814915 h 1920352"/>
              <a:gd name="connsiteX34" fmla="*/ 923437 w 1345026"/>
              <a:gd name="connsiteY34" fmla="*/ 258985 h 1920352"/>
              <a:gd name="connsiteX35" fmla="*/ 967833 w 1345026"/>
              <a:gd name="connsiteY35" fmla="*/ 559955 h 1920352"/>
              <a:gd name="connsiteX36" fmla="*/ 883654 w 1345026"/>
              <a:gd name="connsiteY36" fmla="*/ 828638 h 1920352"/>
              <a:gd name="connsiteX37" fmla="*/ 986168 w 1345026"/>
              <a:gd name="connsiteY37" fmla="*/ 1123727 h 1920352"/>
              <a:gd name="connsiteX38" fmla="*/ 1188315 w 1345026"/>
              <a:gd name="connsiteY38" fmla="*/ 438414 h 1920352"/>
              <a:gd name="connsiteX39" fmla="*/ 989397 w 1345026"/>
              <a:gd name="connsiteY39" fmla="*/ 1137796 h 1920352"/>
              <a:gd name="connsiteX40" fmla="*/ 1029988 w 1345026"/>
              <a:gd name="connsiteY40" fmla="*/ 1491234 h 1920352"/>
              <a:gd name="connsiteX41" fmla="*/ 1135846 w 1345026"/>
              <a:gd name="connsiteY41" fmla="*/ 1106661 h 1920352"/>
              <a:gd name="connsiteX42" fmla="*/ 1345027 w 1345026"/>
              <a:gd name="connsiteY42" fmla="*/ 775593 h 1920352"/>
              <a:gd name="connsiteX43" fmla="*/ 1030103 w 1345026"/>
              <a:gd name="connsiteY43" fmla="*/ 1507839 h 1920352"/>
              <a:gd name="connsiteX44" fmla="*/ 979250 w 1345026"/>
              <a:gd name="connsiteY44" fmla="*/ 1907173 h 1920352"/>
              <a:gd name="connsiteX45" fmla="*/ 979250 w 1345026"/>
              <a:gd name="connsiteY45" fmla="*/ 1907404 h 1920352"/>
              <a:gd name="connsiteX46" fmla="*/ 960684 w 1345026"/>
              <a:gd name="connsiteY46" fmla="*/ 1920204 h 1920352"/>
              <a:gd name="connsiteX47" fmla="*/ 949960 w 1345026"/>
              <a:gd name="connsiteY47" fmla="*/ 1903137 h 1920352"/>
              <a:gd name="connsiteX48" fmla="*/ 1004503 w 1345026"/>
              <a:gd name="connsiteY48" fmla="*/ 1498038 h 19203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</a:cxnLst>
            <a:rect l="l" t="t" r="r" b="b"/>
            <a:pathLst>
              <a:path w="1345026" h="1920352">
                <a:moveTo>
                  <a:pt x="1004503" y="1498038"/>
                </a:moveTo>
                <a:cubicBezTo>
                  <a:pt x="760383" y="1317917"/>
                  <a:pt x="666517" y="1136527"/>
                  <a:pt x="491009" y="967592"/>
                </a:cubicBezTo>
                <a:cubicBezTo>
                  <a:pt x="788635" y="1063072"/>
                  <a:pt x="980749" y="1414089"/>
                  <a:pt x="1004503" y="1488928"/>
                </a:cubicBezTo>
                <a:cubicBezTo>
                  <a:pt x="1005080" y="1368540"/>
                  <a:pt x="992280" y="1248151"/>
                  <a:pt x="965758" y="1130761"/>
                </a:cubicBezTo>
                <a:cubicBezTo>
                  <a:pt x="822653" y="1008874"/>
                  <a:pt x="673436" y="939340"/>
                  <a:pt x="556738" y="764984"/>
                </a:cubicBezTo>
                <a:cubicBezTo>
                  <a:pt x="742855" y="810649"/>
                  <a:pt x="914674" y="1028939"/>
                  <a:pt x="961606" y="1112772"/>
                </a:cubicBezTo>
                <a:cubicBezTo>
                  <a:pt x="936814" y="1008528"/>
                  <a:pt x="901297" y="906821"/>
                  <a:pt x="855517" y="809611"/>
                </a:cubicBezTo>
                <a:cubicBezTo>
                  <a:pt x="715180" y="739730"/>
                  <a:pt x="590064" y="648286"/>
                  <a:pt x="485473" y="539314"/>
                </a:cubicBezTo>
                <a:cubicBezTo>
                  <a:pt x="619123" y="576791"/>
                  <a:pt x="741241" y="654052"/>
                  <a:pt x="831071" y="760026"/>
                </a:cubicBezTo>
                <a:cubicBezTo>
                  <a:pt x="792210" y="684495"/>
                  <a:pt x="747006" y="611962"/>
                  <a:pt x="695807" y="543350"/>
                </a:cubicBezTo>
                <a:cubicBezTo>
                  <a:pt x="690618" y="544849"/>
                  <a:pt x="685429" y="546348"/>
                  <a:pt x="680239" y="547847"/>
                </a:cubicBezTo>
                <a:cubicBezTo>
                  <a:pt x="560197" y="518673"/>
                  <a:pt x="452032" y="455250"/>
                  <a:pt x="372350" y="368303"/>
                </a:cubicBezTo>
                <a:cubicBezTo>
                  <a:pt x="474749" y="385946"/>
                  <a:pt x="572651" y="428151"/>
                  <a:pt x="654870" y="490767"/>
                </a:cubicBezTo>
                <a:cubicBezTo>
                  <a:pt x="622698" y="451214"/>
                  <a:pt x="588334" y="413045"/>
                  <a:pt x="552240" y="376605"/>
                </a:cubicBezTo>
                <a:cubicBezTo>
                  <a:pt x="533214" y="375568"/>
                  <a:pt x="471636" y="364151"/>
                  <a:pt x="471636" y="364267"/>
                </a:cubicBezTo>
                <a:cubicBezTo>
                  <a:pt x="369813" y="337514"/>
                  <a:pt x="280099" y="292426"/>
                  <a:pt x="191307" y="241457"/>
                </a:cubicBezTo>
                <a:cubicBezTo>
                  <a:pt x="274794" y="242495"/>
                  <a:pt x="483974" y="331517"/>
                  <a:pt x="541286" y="365651"/>
                </a:cubicBezTo>
                <a:cubicBezTo>
                  <a:pt x="491816" y="316527"/>
                  <a:pt x="438771" y="270516"/>
                  <a:pt x="382728" y="227850"/>
                </a:cubicBezTo>
                <a:cubicBezTo>
                  <a:pt x="380653" y="228080"/>
                  <a:pt x="378577" y="228311"/>
                  <a:pt x="376501" y="228542"/>
                </a:cubicBezTo>
                <a:cubicBezTo>
                  <a:pt x="300163" y="221854"/>
                  <a:pt x="228668" y="188066"/>
                  <a:pt x="167552" y="145515"/>
                </a:cubicBezTo>
                <a:cubicBezTo>
                  <a:pt x="106896" y="102964"/>
                  <a:pt x="54659" y="51419"/>
                  <a:pt x="0" y="1834"/>
                </a:cubicBezTo>
                <a:cubicBezTo>
                  <a:pt x="182773" y="-18462"/>
                  <a:pt x="285634" y="134445"/>
                  <a:pt x="395067" y="226697"/>
                </a:cubicBezTo>
                <a:cubicBezTo>
                  <a:pt x="394721" y="226697"/>
                  <a:pt x="394490" y="226812"/>
                  <a:pt x="394144" y="226812"/>
                </a:cubicBezTo>
                <a:cubicBezTo>
                  <a:pt x="444883" y="264866"/>
                  <a:pt x="493200" y="305572"/>
                  <a:pt x="538749" y="348815"/>
                </a:cubicBezTo>
                <a:cubicBezTo>
                  <a:pt x="503808" y="244224"/>
                  <a:pt x="454685" y="142748"/>
                  <a:pt x="401294" y="42194"/>
                </a:cubicBezTo>
                <a:cubicBezTo>
                  <a:pt x="490663" y="118532"/>
                  <a:pt x="547167" y="224621"/>
                  <a:pt x="558698" y="333363"/>
                </a:cubicBezTo>
                <a:cubicBezTo>
                  <a:pt x="558698" y="333363"/>
                  <a:pt x="555239" y="353427"/>
                  <a:pt x="549934" y="359654"/>
                </a:cubicBezTo>
                <a:cubicBezTo>
                  <a:pt x="607822" y="415697"/>
                  <a:pt x="661328" y="475776"/>
                  <a:pt x="709645" y="539429"/>
                </a:cubicBezTo>
                <a:lnTo>
                  <a:pt x="709645" y="539429"/>
                </a:lnTo>
                <a:lnTo>
                  <a:pt x="709645" y="539429"/>
                </a:lnTo>
                <a:cubicBezTo>
                  <a:pt x="717025" y="549231"/>
                  <a:pt x="724290" y="559148"/>
                  <a:pt x="731554" y="569065"/>
                </a:cubicBezTo>
                <a:cubicBezTo>
                  <a:pt x="720138" y="520748"/>
                  <a:pt x="640110" y="283431"/>
                  <a:pt x="703764" y="99274"/>
                </a:cubicBezTo>
                <a:cubicBezTo>
                  <a:pt x="762228" y="247107"/>
                  <a:pt x="769032" y="427574"/>
                  <a:pt x="735014" y="573793"/>
                </a:cubicBezTo>
                <a:cubicBezTo>
                  <a:pt x="789673" y="649900"/>
                  <a:pt x="837413" y="730736"/>
                  <a:pt x="877427" y="814915"/>
                </a:cubicBezTo>
                <a:cubicBezTo>
                  <a:pt x="878349" y="733157"/>
                  <a:pt x="851827" y="441527"/>
                  <a:pt x="923437" y="258985"/>
                </a:cubicBezTo>
                <a:cubicBezTo>
                  <a:pt x="926897" y="352274"/>
                  <a:pt x="966334" y="466897"/>
                  <a:pt x="967833" y="559955"/>
                </a:cubicBezTo>
                <a:cubicBezTo>
                  <a:pt x="970024" y="649670"/>
                  <a:pt x="930472" y="753107"/>
                  <a:pt x="883654" y="828638"/>
                </a:cubicBezTo>
                <a:cubicBezTo>
                  <a:pt x="927589" y="923426"/>
                  <a:pt x="961837" y="1022366"/>
                  <a:pt x="986168" y="1123727"/>
                </a:cubicBezTo>
                <a:cubicBezTo>
                  <a:pt x="1019610" y="903477"/>
                  <a:pt x="1055357" y="659587"/>
                  <a:pt x="1188315" y="438414"/>
                </a:cubicBezTo>
                <a:cubicBezTo>
                  <a:pt x="1235363" y="667428"/>
                  <a:pt x="1036676" y="1071029"/>
                  <a:pt x="989397" y="1137796"/>
                </a:cubicBezTo>
                <a:cubicBezTo>
                  <a:pt x="1016035" y="1253571"/>
                  <a:pt x="1029527" y="1372345"/>
                  <a:pt x="1029988" y="1491234"/>
                </a:cubicBezTo>
                <a:cubicBezTo>
                  <a:pt x="1048554" y="1423545"/>
                  <a:pt x="1090182" y="1208714"/>
                  <a:pt x="1135846" y="1106661"/>
                </a:cubicBezTo>
                <a:cubicBezTo>
                  <a:pt x="1193965" y="985004"/>
                  <a:pt x="1241013" y="875455"/>
                  <a:pt x="1345027" y="775593"/>
                </a:cubicBezTo>
                <a:cubicBezTo>
                  <a:pt x="1341221" y="1098128"/>
                  <a:pt x="1210455" y="1325989"/>
                  <a:pt x="1030103" y="1507839"/>
                </a:cubicBezTo>
                <a:cubicBezTo>
                  <a:pt x="1029411" y="1642065"/>
                  <a:pt x="1012114" y="1776522"/>
                  <a:pt x="979250" y="1907173"/>
                </a:cubicBezTo>
                <a:cubicBezTo>
                  <a:pt x="979250" y="1907173"/>
                  <a:pt x="979250" y="1907288"/>
                  <a:pt x="979250" y="1907404"/>
                </a:cubicBezTo>
                <a:cubicBezTo>
                  <a:pt x="977059" y="1915706"/>
                  <a:pt x="968641" y="1921357"/>
                  <a:pt x="960684" y="1920204"/>
                </a:cubicBezTo>
                <a:cubicBezTo>
                  <a:pt x="952612" y="1918935"/>
                  <a:pt x="947884" y="1911324"/>
                  <a:pt x="949960" y="1903137"/>
                </a:cubicBezTo>
                <a:cubicBezTo>
                  <a:pt x="984669" y="1770987"/>
                  <a:pt x="1003235" y="1634570"/>
                  <a:pt x="1004503" y="1498038"/>
                </a:cubicBezTo>
                <a:close/>
              </a:path>
            </a:pathLst>
          </a:custGeom>
          <a:solidFill>
            <a:srgbClr val="2A3E33"/>
          </a:solidFill>
          <a:ln w="11479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pic>
        <p:nvPicPr>
          <p:cNvPr id="20" name="Graphic 19">
            <a:extLst>
              <a:ext uri="{FF2B5EF4-FFF2-40B4-BE49-F238E27FC236}">
                <a16:creationId xmlns:a16="http://schemas.microsoft.com/office/drawing/2014/main" id="{D1B80A6D-5C80-4323-B8BF-0E27AC76A26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 rot="21309592" flipH="1">
            <a:off x="10361748" y="4561292"/>
            <a:ext cx="1173145" cy="2510941"/>
          </a:xfrm>
          <a:prstGeom prst="rect">
            <a:avLst/>
          </a:prstGeom>
        </p:spPr>
      </p:pic>
      <p:grpSp>
        <p:nvGrpSpPr>
          <p:cNvPr id="7" name="Group 6">
            <a:extLst>
              <a:ext uri="{FF2B5EF4-FFF2-40B4-BE49-F238E27FC236}">
                <a16:creationId xmlns:a16="http://schemas.microsoft.com/office/drawing/2014/main" id="{0209DA1B-A3F4-4C73-BF88-D26D98190A65}"/>
              </a:ext>
            </a:extLst>
          </p:cNvPr>
          <p:cNvGrpSpPr/>
          <p:nvPr/>
        </p:nvGrpSpPr>
        <p:grpSpPr>
          <a:xfrm>
            <a:off x="11358625" y="402498"/>
            <a:ext cx="374975" cy="232229"/>
            <a:chOff x="9347200" y="-841829"/>
            <a:chExt cx="638629" cy="395515"/>
          </a:xfrm>
        </p:grpSpPr>
        <p:cxnSp>
          <p:nvCxnSpPr>
            <p:cNvPr id="8" name="Straight Connector 7">
              <a:extLst>
                <a:ext uri="{FF2B5EF4-FFF2-40B4-BE49-F238E27FC236}">
                  <a16:creationId xmlns:a16="http://schemas.microsoft.com/office/drawing/2014/main" id="{DD96093E-A8E7-4139-A898-012944BAB667}"/>
                </a:ext>
              </a:extLst>
            </p:cNvPr>
            <p:cNvCxnSpPr/>
            <p:nvPr/>
          </p:nvCxnSpPr>
          <p:spPr>
            <a:xfrm>
              <a:off x="9347200" y="-841829"/>
              <a:ext cx="638629" cy="0"/>
            </a:xfrm>
            <a:prstGeom prst="line">
              <a:avLst/>
            </a:prstGeom>
            <a:ln w="317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8">
              <a:extLst>
                <a:ext uri="{FF2B5EF4-FFF2-40B4-BE49-F238E27FC236}">
                  <a16:creationId xmlns:a16="http://schemas.microsoft.com/office/drawing/2014/main" id="{71078EB0-05EB-49DF-AF89-72BD6D6A1204}"/>
                </a:ext>
              </a:extLst>
            </p:cNvPr>
            <p:cNvCxnSpPr/>
            <p:nvPr/>
          </p:nvCxnSpPr>
          <p:spPr>
            <a:xfrm>
              <a:off x="9347200" y="-635000"/>
              <a:ext cx="638629" cy="0"/>
            </a:xfrm>
            <a:prstGeom prst="line">
              <a:avLst/>
            </a:prstGeom>
            <a:ln w="317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769FA4A5-8E08-41C5-A7AB-9342A0DE0666}"/>
                </a:ext>
              </a:extLst>
            </p:cNvPr>
            <p:cNvCxnSpPr>
              <a:cxnSpLocks/>
            </p:cNvCxnSpPr>
            <p:nvPr/>
          </p:nvCxnSpPr>
          <p:spPr>
            <a:xfrm>
              <a:off x="9666514" y="-446314"/>
              <a:ext cx="319315" cy="0"/>
            </a:xfrm>
            <a:prstGeom prst="line">
              <a:avLst/>
            </a:prstGeom>
            <a:ln w="317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2" name="Graphic 11">
            <a:extLst>
              <a:ext uri="{FF2B5EF4-FFF2-40B4-BE49-F238E27FC236}">
                <a16:creationId xmlns:a16="http://schemas.microsoft.com/office/drawing/2014/main" id="{6E98C2C5-6947-4F28-A2B4-7F1B16B3B38D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xmlns="" r:embed="rId6"/>
              </a:ext>
            </a:extLst>
          </a:blip>
          <a:stretch>
            <a:fillRect/>
          </a:stretch>
        </p:blipFill>
        <p:spPr>
          <a:xfrm>
            <a:off x="11358625" y="3663620"/>
            <a:ext cx="1525277" cy="3315820"/>
          </a:xfrm>
          <a:prstGeom prst="rect">
            <a:avLst/>
          </a:prstGeom>
        </p:spPr>
      </p:pic>
      <p:pic>
        <p:nvPicPr>
          <p:cNvPr id="14" name="Graphic 13">
            <a:extLst>
              <a:ext uri="{FF2B5EF4-FFF2-40B4-BE49-F238E27FC236}">
                <a16:creationId xmlns:a16="http://schemas.microsoft.com/office/drawing/2014/main" id="{EC82E252-F5FE-418C-AF0B-C3ED95B0AF98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xmlns="" r:embed="rId8"/>
              </a:ext>
            </a:extLst>
          </a:blip>
          <a:stretch>
            <a:fillRect/>
          </a:stretch>
        </p:blipFill>
        <p:spPr>
          <a:xfrm>
            <a:off x="10327911" y="5407708"/>
            <a:ext cx="772715" cy="1534546"/>
          </a:xfrm>
          <a:prstGeom prst="rect">
            <a:avLst/>
          </a:prstGeom>
        </p:spPr>
      </p:pic>
      <p:pic>
        <p:nvPicPr>
          <p:cNvPr id="16" name="Graphic 15">
            <a:extLst>
              <a:ext uri="{FF2B5EF4-FFF2-40B4-BE49-F238E27FC236}">
                <a16:creationId xmlns:a16="http://schemas.microsoft.com/office/drawing/2014/main" id="{37E16DBE-777F-44A0-BF80-50096DFF7EB5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xmlns="" r:embed="rId10"/>
              </a:ext>
            </a:extLst>
          </a:blip>
          <a:stretch>
            <a:fillRect/>
          </a:stretch>
        </p:blipFill>
        <p:spPr>
          <a:xfrm>
            <a:off x="10723257" y="5008243"/>
            <a:ext cx="1954192" cy="2018264"/>
          </a:xfrm>
          <a:prstGeom prst="rect">
            <a:avLst/>
          </a:prstGeom>
        </p:spPr>
      </p:pic>
      <p:sp>
        <p:nvSpPr>
          <p:cNvPr id="22" name="Graphic 460">
            <a:extLst>
              <a:ext uri="{FF2B5EF4-FFF2-40B4-BE49-F238E27FC236}">
                <a16:creationId xmlns:a16="http://schemas.microsoft.com/office/drawing/2014/main" id="{58DDCE9E-B683-4421-A798-56FF1FD6FDB5}"/>
              </a:ext>
            </a:extLst>
          </p:cNvPr>
          <p:cNvSpPr/>
          <p:nvPr/>
        </p:nvSpPr>
        <p:spPr>
          <a:xfrm>
            <a:off x="9318422" y="3998085"/>
            <a:ext cx="1534375" cy="2650740"/>
          </a:xfrm>
          <a:custGeom>
            <a:avLst/>
            <a:gdLst>
              <a:gd name="connsiteX0" fmla="*/ 1004503 w 1345026"/>
              <a:gd name="connsiteY0" fmla="*/ 1498038 h 1920352"/>
              <a:gd name="connsiteX1" fmla="*/ 491009 w 1345026"/>
              <a:gd name="connsiteY1" fmla="*/ 967592 h 1920352"/>
              <a:gd name="connsiteX2" fmla="*/ 1004503 w 1345026"/>
              <a:gd name="connsiteY2" fmla="*/ 1488928 h 1920352"/>
              <a:gd name="connsiteX3" fmla="*/ 965758 w 1345026"/>
              <a:gd name="connsiteY3" fmla="*/ 1130761 h 1920352"/>
              <a:gd name="connsiteX4" fmla="*/ 556738 w 1345026"/>
              <a:gd name="connsiteY4" fmla="*/ 764984 h 1920352"/>
              <a:gd name="connsiteX5" fmla="*/ 961606 w 1345026"/>
              <a:gd name="connsiteY5" fmla="*/ 1112772 h 1920352"/>
              <a:gd name="connsiteX6" fmla="*/ 855517 w 1345026"/>
              <a:gd name="connsiteY6" fmla="*/ 809611 h 1920352"/>
              <a:gd name="connsiteX7" fmla="*/ 485473 w 1345026"/>
              <a:gd name="connsiteY7" fmla="*/ 539314 h 1920352"/>
              <a:gd name="connsiteX8" fmla="*/ 831071 w 1345026"/>
              <a:gd name="connsiteY8" fmla="*/ 760026 h 1920352"/>
              <a:gd name="connsiteX9" fmla="*/ 695807 w 1345026"/>
              <a:gd name="connsiteY9" fmla="*/ 543350 h 1920352"/>
              <a:gd name="connsiteX10" fmla="*/ 680239 w 1345026"/>
              <a:gd name="connsiteY10" fmla="*/ 547847 h 1920352"/>
              <a:gd name="connsiteX11" fmla="*/ 372350 w 1345026"/>
              <a:gd name="connsiteY11" fmla="*/ 368303 h 1920352"/>
              <a:gd name="connsiteX12" fmla="*/ 654870 w 1345026"/>
              <a:gd name="connsiteY12" fmla="*/ 490767 h 1920352"/>
              <a:gd name="connsiteX13" fmla="*/ 552240 w 1345026"/>
              <a:gd name="connsiteY13" fmla="*/ 376605 h 1920352"/>
              <a:gd name="connsiteX14" fmla="*/ 471636 w 1345026"/>
              <a:gd name="connsiteY14" fmla="*/ 364267 h 1920352"/>
              <a:gd name="connsiteX15" fmla="*/ 191307 w 1345026"/>
              <a:gd name="connsiteY15" fmla="*/ 241457 h 1920352"/>
              <a:gd name="connsiteX16" fmla="*/ 541286 w 1345026"/>
              <a:gd name="connsiteY16" fmla="*/ 365651 h 1920352"/>
              <a:gd name="connsiteX17" fmla="*/ 382728 w 1345026"/>
              <a:gd name="connsiteY17" fmla="*/ 227850 h 1920352"/>
              <a:gd name="connsiteX18" fmla="*/ 376501 w 1345026"/>
              <a:gd name="connsiteY18" fmla="*/ 228542 h 1920352"/>
              <a:gd name="connsiteX19" fmla="*/ 167552 w 1345026"/>
              <a:gd name="connsiteY19" fmla="*/ 145515 h 1920352"/>
              <a:gd name="connsiteX20" fmla="*/ 0 w 1345026"/>
              <a:gd name="connsiteY20" fmla="*/ 1834 h 1920352"/>
              <a:gd name="connsiteX21" fmla="*/ 395067 w 1345026"/>
              <a:gd name="connsiteY21" fmla="*/ 226697 h 1920352"/>
              <a:gd name="connsiteX22" fmla="*/ 394144 w 1345026"/>
              <a:gd name="connsiteY22" fmla="*/ 226812 h 1920352"/>
              <a:gd name="connsiteX23" fmla="*/ 538749 w 1345026"/>
              <a:gd name="connsiteY23" fmla="*/ 348815 h 1920352"/>
              <a:gd name="connsiteX24" fmla="*/ 401294 w 1345026"/>
              <a:gd name="connsiteY24" fmla="*/ 42194 h 1920352"/>
              <a:gd name="connsiteX25" fmla="*/ 558698 w 1345026"/>
              <a:gd name="connsiteY25" fmla="*/ 333363 h 1920352"/>
              <a:gd name="connsiteX26" fmla="*/ 549934 w 1345026"/>
              <a:gd name="connsiteY26" fmla="*/ 359654 h 1920352"/>
              <a:gd name="connsiteX27" fmla="*/ 709645 w 1345026"/>
              <a:gd name="connsiteY27" fmla="*/ 539429 h 1920352"/>
              <a:gd name="connsiteX28" fmla="*/ 709645 w 1345026"/>
              <a:gd name="connsiteY28" fmla="*/ 539429 h 1920352"/>
              <a:gd name="connsiteX29" fmla="*/ 709645 w 1345026"/>
              <a:gd name="connsiteY29" fmla="*/ 539429 h 1920352"/>
              <a:gd name="connsiteX30" fmla="*/ 731554 w 1345026"/>
              <a:gd name="connsiteY30" fmla="*/ 569065 h 1920352"/>
              <a:gd name="connsiteX31" fmla="*/ 703764 w 1345026"/>
              <a:gd name="connsiteY31" fmla="*/ 99274 h 1920352"/>
              <a:gd name="connsiteX32" fmla="*/ 735014 w 1345026"/>
              <a:gd name="connsiteY32" fmla="*/ 573793 h 1920352"/>
              <a:gd name="connsiteX33" fmla="*/ 877427 w 1345026"/>
              <a:gd name="connsiteY33" fmla="*/ 814915 h 1920352"/>
              <a:gd name="connsiteX34" fmla="*/ 923437 w 1345026"/>
              <a:gd name="connsiteY34" fmla="*/ 258985 h 1920352"/>
              <a:gd name="connsiteX35" fmla="*/ 967833 w 1345026"/>
              <a:gd name="connsiteY35" fmla="*/ 559955 h 1920352"/>
              <a:gd name="connsiteX36" fmla="*/ 883654 w 1345026"/>
              <a:gd name="connsiteY36" fmla="*/ 828638 h 1920352"/>
              <a:gd name="connsiteX37" fmla="*/ 986168 w 1345026"/>
              <a:gd name="connsiteY37" fmla="*/ 1123727 h 1920352"/>
              <a:gd name="connsiteX38" fmla="*/ 1188315 w 1345026"/>
              <a:gd name="connsiteY38" fmla="*/ 438414 h 1920352"/>
              <a:gd name="connsiteX39" fmla="*/ 989397 w 1345026"/>
              <a:gd name="connsiteY39" fmla="*/ 1137796 h 1920352"/>
              <a:gd name="connsiteX40" fmla="*/ 1029988 w 1345026"/>
              <a:gd name="connsiteY40" fmla="*/ 1491234 h 1920352"/>
              <a:gd name="connsiteX41" fmla="*/ 1135846 w 1345026"/>
              <a:gd name="connsiteY41" fmla="*/ 1106661 h 1920352"/>
              <a:gd name="connsiteX42" fmla="*/ 1345027 w 1345026"/>
              <a:gd name="connsiteY42" fmla="*/ 775593 h 1920352"/>
              <a:gd name="connsiteX43" fmla="*/ 1030103 w 1345026"/>
              <a:gd name="connsiteY43" fmla="*/ 1507839 h 1920352"/>
              <a:gd name="connsiteX44" fmla="*/ 979250 w 1345026"/>
              <a:gd name="connsiteY44" fmla="*/ 1907173 h 1920352"/>
              <a:gd name="connsiteX45" fmla="*/ 979250 w 1345026"/>
              <a:gd name="connsiteY45" fmla="*/ 1907404 h 1920352"/>
              <a:gd name="connsiteX46" fmla="*/ 960684 w 1345026"/>
              <a:gd name="connsiteY46" fmla="*/ 1920204 h 1920352"/>
              <a:gd name="connsiteX47" fmla="*/ 949960 w 1345026"/>
              <a:gd name="connsiteY47" fmla="*/ 1903137 h 1920352"/>
              <a:gd name="connsiteX48" fmla="*/ 1004503 w 1345026"/>
              <a:gd name="connsiteY48" fmla="*/ 1498038 h 19203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</a:cxnLst>
            <a:rect l="l" t="t" r="r" b="b"/>
            <a:pathLst>
              <a:path w="1345026" h="1920352">
                <a:moveTo>
                  <a:pt x="1004503" y="1498038"/>
                </a:moveTo>
                <a:cubicBezTo>
                  <a:pt x="760383" y="1317917"/>
                  <a:pt x="666517" y="1136527"/>
                  <a:pt x="491009" y="967592"/>
                </a:cubicBezTo>
                <a:cubicBezTo>
                  <a:pt x="788635" y="1063072"/>
                  <a:pt x="980749" y="1414089"/>
                  <a:pt x="1004503" y="1488928"/>
                </a:cubicBezTo>
                <a:cubicBezTo>
                  <a:pt x="1005080" y="1368540"/>
                  <a:pt x="992280" y="1248151"/>
                  <a:pt x="965758" y="1130761"/>
                </a:cubicBezTo>
                <a:cubicBezTo>
                  <a:pt x="822653" y="1008874"/>
                  <a:pt x="673436" y="939340"/>
                  <a:pt x="556738" y="764984"/>
                </a:cubicBezTo>
                <a:cubicBezTo>
                  <a:pt x="742855" y="810649"/>
                  <a:pt x="914674" y="1028939"/>
                  <a:pt x="961606" y="1112772"/>
                </a:cubicBezTo>
                <a:cubicBezTo>
                  <a:pt x="936814" y="1008528"/>
                  <a:pt x="901297" y="906821"/>
                  <a:pt x="855517" y="809611"/>
                </a:cubicBezTo>
                <a:cubicBezTo>
                  <a:pt x="715180" y="739730"/>
                  <a:pt x="590064" y="648286"/>
                  <a:pt x="485473" y="539314"/>
                </a:cubicBezTo>
                <a:cubicBezTo>
                  <a:pt x="619123" y="576791"/>
                  <a:pt x="741241" y="654052"/>
                  <a:pt x="831071" y="760026"/>
                </a:cubicBezTo>
                <a:cubicBezTo>
                  <a:pt x="792210" y="684495"/>
                  <a:pt x="747006" y="611962"/>
                  <a:pt x="695807" y="543350"/>
                </a:cubicBezTo>
                <a:cubicBezTo>
                  <a:pt x="690618" y="544849"/>
                  <a:pt x="685429" y="546348"/>
                  <a:pt x="680239" y="547847"/>
                </a:cubicBezTo>
                <a:cubicBezTo>
                  <a:pt x="560197" y="518673"/>
                  <a:pt x="452032" y="455250"/>
                  <a:pt x="372350" y="368303"/>
                </a:cubicBezTo>
                <a:cubicBezTo>
                  <a:pt x="474749" y="385946"/>
                  <a:pt x="572651" y="428151"/>
                  <a:pt x="654870" y="490767"/>
                </a:cubicBezTo>
                <a:cubicBezTo>
                  <a:pt x="622698" y="451214"/>
                  <a:pt x="588334" y="413045"/>
                  <a:pt x="552240" y="376605"/>
                </a:cubicBezTo>
                <a:cubicBezTo>
                  <a:pt x="533214" y="375568"/>
                  <a:pt x="471636" y="364151"/>
                  <a:pt x="471636" y="364267"/>
                </a:cubicBezTo>
                <a:cubicBezTo>
                  <a:pt x="369813" y="337514"/>
                  <a:pt x="280099" y="292426"/>
                  <a:pt x="191307" y="241457"/>
                </a:cubicBezTo>
                <a:cubicBezTo>
                  <a:pt x="274794" y="242495"/>
                  <a:pt x="483974" y="331517"/>
                  <a:pt x="541286" y="365651"/>
                </a:cubicBezTo>
                <a:cubicBezTo>
                  <a:pt x="491816" y="316527"/>
                  <a:pt x="438771" y="270516"/>
                  <a:pt x="382728" y="227850"/>
                </a:cubicBezTo>
                <a:cubicBezTo>
                  <a:pt x="380653" y="228080"/>
                  <a:pt x="378577" y="228311"/>
                  <a:pt x="376501" y="228542"/>
                </a:cubicBezTo>
                <a:cubicBezTo>
                  <a:pt x="300163" y="221854"/>
                  <a:pt x="228668" y="188066"/>
                  <a:pt x="167552" y="145515"/>
                </a:cubicBezTo>
                <a:cubicBezTo>
                  <a:pt x="106896" y="102964"/>
                  <a:pt x="54659" y="51419"/>
                  <a:pt x="0" y="1834"/>
                </a:cubicBezTo>
                <a:cubicBezTo>
                  <a:pt x="182773" y="-18462"/>
                  <a:pt x="285634" y="134445"/>
                  <a:pt x="395067" y="226697"/>
                </a:cubicBezTo>
                <a:cubicBezTo>
                  <a:pt x="394721" y="226697"/>
                  <a:pt x="394490" y="226812"/>
                  <a:pt x="394144" y="226812"/>
                </a:cubicBezTo>
                <a:cubicBezTo>
                  <a:pt x="444883" y="264866"/>
                  <a:pt x="493200" y="305572"/>
                  <a:pt x="538749" y="348815"/>
                </a:cubicBezTo>
                <a:cubicBezTo>
                  <a:pt x="503808" y="244224"/>
                  <a:pt x="454685" y="142748"/>
                  <a:pt x="401294" y="42194"/>
                </a:cubicBezTo>
                <a:cubicBezTo>
                  <a:pt x="490663" y="118532"/>
                  <a:pt x="547167" y="224621"/>
                  <a:pt x="558698" y="333363"/>
                </a:cubicBezTo>
                <a:cubicBezTo>
                  <a:pt x="558698" y="333363"/>
                  <a:pt x="555239" y="353427"/>
                  <a:pt x="549934" y="359654"/>
                </a:cubicBezTo>
                <a:cubicBezTo>
                  <a:pt x="607822" y="415697"/>
                  <a:pt x="661328" y="475776"/>
                  <a:pt x="709645" y="539429"/>
                </a:cubicBezTo>
                <a:lnTo>
                  <a:pt x="709645" y="539429"/>
                </a:lnTo>
                <a:lnTo>
                  <a:pt x="709645" y="539429"/>
                </a:lnTo>
                <a:cubicBezTo>
                  <a:pt x="717025" y="549231"/>
                  <a:pt x="724290" y="559148"/>
                  <a:pt x="731554" y="569065"/>
                </a:cubicBezTo>
                <a:cubicBezTo>
                  <a:pt x="720138" y="520748"/>
                  <a:pt x="640110" y="283431"/>
                  <a:pt x="703764" y="99274"/>
                </a:cubicBezTo>
                <a:cubicBezTo>
                  <a:pt x="762228" y="247107"/>
                  <a:pt x="769032" y="427574"/>
                  <a:pt x="735014" y="573793"/>
                </a:cubicBezTo>
                <a:cubicBezTo>
                  <a:pt x="789673" y="649900"/>
                  <a:pt x="837413" y="730736"/>
                  <a:pt x="877427" y="814915"/>
                </a:cubicBezTo>
                <a:cubicBezTo>
                  <a:pt x="878349" y="733157"/>
                  <a:pt x="851827" y="441527"/>
                  <a:pt x="923437" y="258985"/>
                </a:cubicBezTo>
                <a:cubicBezTo>
                  <a:pt x="926897" y="352274"/>
                  <a:pt x="966334" y="466897"/>
                  <a:pt x="967833" y="559955"/>
                </a:cubicBezTo>
                <a:cubicBezTo>
                  <a:pt x="970024" y="649670"/>
                  <a:pt x="930472" y="753107"/>
                  <a:pt x="883654" y="828638"/>
                </a:cubicBezTo>
                <a:cubicBezTo>
                  <a:pt x="927589" y="923426"/>
                  <a:pt x="961837" y="1022366"/>
                  <a:pt x="986168" y="1123727"/>
                </a:cubicBezTo>
                <a:cubicBezTo>
                  <a:pt x="1019610" y="903477"/>
                  <a:pt x="1055357" y="659587"/>
                  <a:pt x="1188315" y="438414"/>
                </a:cubicBezTo>
                <a:cubicBezTo>
                  <a:pt x="1235363" y="667428"/>
                  <a:pt x="1036676" y="1071029"/>
                  <a:pt x="989397" y="1137796"/>
                </a:cubicBezTo>
                <a:cubicBezTo>
                  <a:pt x="1016035" y="1253571"/>
                  <a:pt x="1029527" y="1372345"/>
                  <a:pt x="1029988" y="1491234"/>
                </a:cubicBezTo>
                <a:cubicBezTo>
                  <a:pt x="1048554" y="1423545"/>
                  <a:pt x="1090182" y="1208714"/>
                  <a:pt x="1135846" y="1106661"/>
                </a:cubicBezTo>
                <a:cubicBezTo>
                  <a:pt x="1193965" y="985004"/>
                  <a:pt x="1241013" y="875455"/>
                  <a:pt x="1345027" y="775593"/>
                </a:cubicBezTo>
                <a:cubicBezTo>
                  <a:pt x="1341221" y="1098128"/>
                  <a:pt x="1210455" y="1325989"/>
                  <a:pt x="1030103" y="1507839"/>
                </a:cubicBezTo>
                <a:cubicBezTo>
                  <a:pt x="1029411" y="1642065"/>
                  <a:pt x="1012114" y="1776522"/>
                  <a:pt x="979250" y="1907173"/>
                </a:cubicBezTo>
                <a:cubicBezTo>
                  <a:pt x="979250" y="1907173"/>
                  <a:pt x="979250" y="1907288"/>
                  <a:pt x="979250" y="1907404"/>
                </a:cubicBezTo>
                <a:cubicBezTo>
                  <a:pt x="977059" y="1915706"/>
                  <a:pt x="968641" y="1921357"/>
                  <a:pt x="960684" y="1920204"/>
                </a:cubicBezTo>
                <a:cubicBezTo>
                  <a:pt x="952612" y="1918935"/>
                  <a:pt x="947884" y="1911324"/>
                  <a:pt x="949960" y="1903137"/>
                </a:cubicBezTo>
                <a:cubicBezTo>
                  <a:pt x="984669" y="1770987"/>
                  <a:pt x="1003235" y="1634570"/>
                  <a:pt x="1004503" y="1498038"/>
                </a:cubicBezTo>
                <a:close/>
              </a:path>
            </a:pathLst>
          </a:custGeom>
          <a:solidFill>
            <a:srgbClr val="2A3E33"/>
          </a:solidFill>
          <a:ln w="11479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pic>
        <p:nvPicPr>
          <p:cNvPr id="24" name="Graphic 23">
            <a:extLst>
              <a:ext uri="{FF2B5EF4-FFF2-40B4-BE49-F238E27FC236}">
                <a16:creationId xmlns:a16="http://schemas.microsoft.com/office/drawing/2014/main" id="{D7F19609-F351-44BB-8769-D3BE8E3049A4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xmlns="" r:embed="rId12"/>
              </a:ext>
            </a:extLst>
          </a:blip>
          <a:stretch>
            <a:fillRect/>
          </a:stretch>
        </p:blipFill>
        <p:spPr>
          <a:xfrm>
            <a:off x="8855280" y="4607019"/>
            <a:ext cx="1721844" cy="2419488"/>
          </a:xfrm>
          <a:prstGeom prst="rect">
            <a:avLst/>
          </a:prstGeom>
        </p:spPr>
      </p:pic>
      <p:pic>
        <p:nvPicPr>
          <p:cNvPr id="28" name="Graphic 27">
            <a:extLst>
              <a:ext uri="{FF2B5EF4-FFF2-40B4-BE49-F238E27FC236}">
                <a16:creationId xmlns:a16="http://schemas.microsoft.com/office/drawing/2014/main" id="{9101135A-9FFB-440A-AE46-5BBE41C8FB9C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xmlns="" r:embed="rId10"/>
              </a:ext>
            </a:extLst>
          </a:blip>
          <a:stretch>
            <a:fillRect/>
          </a:stretch>
        </p:blipFill>
        <p:spPr>
          <a:xfrm rot="20606986">
            <a:off x="9000803" y="5654501"/>
            <a:ext cx="1343576" cy="1387628"/>
          </a:xfrm>
          <a:prstGeom prst="rect">
            <a:avLst/>
          </a:prstGeom>
        </p:spPr>
      </p:pic>
      <p:grpSp>
        <p:nvGrpSpPr>
          <p:cNvPr id="72" name="Group 71">
            <a:extLst>
              <a:ext uri="{FF2B5EF4-FFF2-40B4-BE49-F238E27FC236}">
                <a16:creationId xmlns:a16="http://schemas.microsoft.com/office/drawing/2014/main" id="{78DA6A80-3F9D-4775-8869-BDBE2A2F6476}"/>
              </a:ext>
            </a:extLst>
          </p:cNvPr>
          <p:cNvGrpSpPr/>
          <p:nvPr/>
        </p:nvGrpSpPr>
        <p:grpSpPr>
          <a:xfrm>
            <a:off x="865947" y="704732"/>
            <a:ext cx="3907918" cy="5109927"/>
            <a:chOff x="6686340" y="698457"/>
            <a:chExt cx="3907918" cy="5109927"/>
          </a:xfrm>
        </p:grpSpPr>
        <p:grpSp>
          <p:nvGrpSpPr>
            <p:cNvPr id="55" name="Group 54">
              <a:extLst>
                <a:ext uri="{FF2B5EF4-FFF2-40B4-BE49-F238E27FC236}">
                  <a16:creationId xmlns:a16="http://schemas.microsoft.com/office/drawing/2014/main" id="{A216A0A0-DF60-4130-B413-FC5C3882F9D7}"/>
                </a:ext>
              </a:extLst>
            </p:cNvPr>
            <p:cNvGrpSpPr/>
            <p:nvPr/>
          </p:nvGrpSpPr>
          <p:grpSpPr>
            <a:xfrm>
              <a:off x="6686340" y="3405654"/>
              <a:ext cx="3907918" cy="2402730"/>
              <a:chOff x="5976991" y="3349091"/>
              <a:chExt cx="3907918" cy="2402730"/>
            </a:xfrm>
          </p:grpSpPr>
          <p:sp>
            <p:nvSpPr>
              <p:cNvPr id="30" name="Rectangle: Rounded Corners 29">
                <a:extLst>
                  <a:ext uri="{FF2B5EF4-FFF2-40B4-BE49-F238E27FC236}">
                    <a16:creationId xmlns:a16="http://schemas.microsoft.com/office/drawing/2014/main" id="{AF7CCDD1-478E-4D0C-8C35-2BAA6BD9D290}"/>
                  </a:ext>
                </a:extLst>
              </p:cNvPr>
              <p:cNvSpPr/>
              <p:nvPr/>
            </p:nvSpPr>
            <p:spPr>
              <a:xfrm>
                <a:off x="5976991" y="3681754"/>
                <a:ext cx="3907918" cy="2070067"/>
              </a:xfrm>
              <a:prstGeom prst="roundRect">
                <a:avLst>
                  <a:gd name="adj" fmla="val 5830"/>
                </a:avLst>
              </a:prstGeom>
              <a:solidFill>
                <a:schemeClr val="accent1">
                  <a:lumMod val="20000"/>
                  <a:lumOff val="8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D"/>
              </a:p>
            </p:txBody>
          </p:sp>
          <p:sp>
            <p:nvSpPr>
              <p:cNvPr id="33" name="Rectangle: Rounded Corners 32">
                <a:extLst>
                  <a:ext uri="{FF2B5EF4-FFF2-40B4-BE49-F238E27FC236}">
                    <a16:creationId xmlns:a16="http://schemas.microsoft.com/office/drawing/2014/main" id="{EDED1F79-0879-487B-AF55-71A1BE32D254}"/>
                  </a:ext>
                </a:extLst>
              </p:cNvPr>
              <p:cNvSpPr/>
              <p:nvPr/>
            </p:nvSpPr>
            <p:spPr>
              <a:xfrm>
                <a:off x="6259308" y="3349091"/>
                <a:ext cx="665326" cy="665326"/>
              </a:xfrm>
              <a:prstGeom prst="roundRect">
                <a:avLst>
                  <a:gd name="adj" fmla="val 10785"/>
                </a:avLst>
              </a:prstGeom>
              <a:solidFill>
                <a:schemeClr val="bg1"/>
              </a:solidFill>
              <a:ln>
                <a:noFill/>
              </a:ln>
              <a:effectLst>
                <a:outerShdw blurRad="177800" dist="152400" dir="5400000" algn="t" rotWithShape="0">
                  <a:prstClr val="black">
                    <a:alpha val="8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grpSp>
            <p:nvGrpSpPr>
              <p:cNvPr id="36" name="Group 35">
                <a:extLst>
                  <a:ext uri="{FF2B5EF4-FFF2-40B4-BE49-F238E27FC236}">
                    <a16:creationId xmlns:a16="http://schemas.microsoft.com/office/drawing/2014/main" id="{588AB387-775D-4AC2-A2AB-8C310251410E}"/>
                  </a:ext>
                </a:extLst>
              </p:cNvPr>
              <p:cNvGrpSpPr/>
              <p:nvPr/>
            </p:nvGrpSpPr>
            <p:grpSpPr>
              <a:xfrm>
                <a:off x="6258447" y="4294451"/>
                <a:ext cx="3314119" cy="1160109"/>
                <a:chOff x="1694985" y="4094325"/>
                <a:chExt cx="3314119" cy="1160109"/>
              </a:xfrm>
            </p:grpSpPr>
            <p:sp>
              <p:nvSpPr>
                <p:cNvPr id="37" name="TextBox 36">
                  <a:extLst>
                    <a:ext uri="{FF2B5EF4-FFF2-40B4-BE49-F238E27FC236}">
                      <a16:creationId xmlns:a16="http://schemas.microsoft.com/office/drawing/2014/main" id="{D7BF94E0-75FB-41C5-85D1-DC2E14AEFEFA}"/>
                    </a:ext>
                  </a:extLst>
                </p:cNvPr>
                <p:cNvSpPr txBox="1"/>
                <p:nvPr/>
              </p:nvSpPr>
              <p:spPr>
                <a:xfrm>
                  <a:off x="1694985" y="4515770"/>
                  <a:ext cx="3314118" cy="738664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spAutoFit/>
                </a:bodyPr>
                <a:lstStyle/>
                <a:p>
                  <a:r>
                    <a:rPr lang="en-US" sz="1200" dirty="0" smtClean="0">
                      <a:solidFill>
                        <a:schemeClr val="bg2">
                          <a:lumMod val="50000"/>
                        </a:schemeClr>
                      </a:solidFill>
                    </a:rPr>
                    <a:t>Currently only sequential layers are being optimized but in future optimization for different types of layers such as dropout layers or batch normalization  can also be added</a:t>
                  </a:r>
                  <a:endParaRPr lang="en-US" sz="1200" dirty="0">
                    <a:solidFill>
                      <a:schemeClr val="bg2">
                        <a:lumMod val="50000"/>
                      </a:schemeClr>
                    </a:solidFill>
                  </a:endParaRPr>
                </a:p>
              </p:txBody>
            </p:sp>
            <p:sp>
              <p:nvSpPr>
                <p:cNvPr id="38" name="TextBox 37">
                  <a:extLst>
                    <a:ext uri="{FF2B5EF4-FFF2-40B4-BE49-F238E27FC236}">
                      <a16:creationId xmlns:a16="http://schemas.microsoft.com/office/drawing/2014/main" id="{F2DC1DAA-8079-45BD-98C1-EFA620154CC1}"/>
                    </a:ext>
                  </a:extLst>
                </p:cNvPr>
                <p:cNvSpPr txBox="1"/>
                <p:nvPr/>
              </p:nvSpPr>
              <p:spPr>
                <a:xfrm>
                  <a:off x="1694986" y="4094325"/>
                  <a:ext cx="3314118" cy="276999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spAutoFit/>
                </a:bodyPr>
                <a:lstStyle/>
                <a:p>
                  <a:r>
                    <a:rPr lang="en-US" b="1" dirty="0" smtClean="0">
                      <a:solidFill>
                        <a:schemeClr val="bg2">
                          <a:lumMod val="25000"/>
                        </a:schemeClr>
                      </a:solidFill>
                    </a:rPr>
                    <a:t>Multiple Layer Support</a:t>
                  </a:r>
                  <a:endParaRPr lang="en-US" b="1" dirty="0">
                    <a:solidFill>
                      <a:schemeClr val="bg2">
                        <a:lumMod val="25000"/>
                      </a:schemeClr>
                    </a:solidFill>
                  </a:endParaRPr>
                </a:p>
              </p:txBody>
            </p:sp>
          </p:grpSp>
          <p:grpSp>
            <p:nvGrpSpPr>
              <p:cNvPr id="45" name="Group 44">
                <a:extLst>
                  <a:ext uri="{FF2B5EF4-FFF2-40B4-BE49-F238E27FC236}">
                    <a16:creationId xmlns:a16="http://schemas.microsoft.com/office/drawing/2014/main" id="{9D319F92-0AA2-4743-853D-23E45F8692E1}"/>
                  </a:ext>
                </a:extLst>
              </p:cNvPr>
              <p:cNvGrpSpPr/>
              <p:nvPr/>
            </p:nvGrpSpPr>
            <p:grpSpPr>
              <a:xfrm>
                <a:off x="6431316" y="3492286"/>
                <a:ext cx="321310" cy="378937"/>
                <a:chOff x="8464550" y="1825625"/>
                <a:chExt cx="292100" cy="344488"/>
              </a:xfrm>
            </p:grpSpPr>
            <p:sp>
              <p:nvSpPr>
                <p:cNvPr id="46" name="Freeform 118">
                  <a:extLst>
                    <a:ext uri="{FF2B5EF4-FFF2-40B4-BE49-F238E27FC236}">
                      <a16:creationId xmlns:a16="http://schemas.microsoft.com/office/drawing/2014/main" id="{939D3B01-9D61-45E3-AAF3-ED947B9721CA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8555038" y="2065338"/>
                  <a:ext cx="149225" cy="104775"/>
                </a:xfrm>
                <a:custGeom>
                  <a:avLst/>
                  <a:gdLst>
                    <a:gd name="T0" fmla="*/ 496 w 661"/>
                    <a:gd name="T1" fmla="*/ 462 h 462"/>
                    <a:gd name="T2" fmla="*/ 165 w 661"/>
                    <a:gd name="T3" fmla="*/ 462 h 462"/>
                    <a:gd name="T4" fmla="*/ 165 w 661"/>
                    <a:gd name="T5" fmla="*/ 462 h 462"/>
                    <a:gd name="T6" fmla="*/ 160 w 661"/>
                    <a:gd name="T7" fmla="*/ 461 h 462"/>
                    <a:gd name="T8" fmla="*/ 154 w 661"/>
                    <a:gd name="T9" fmla="*/ 460 h 462"/>
                    <a:gd name="T10" fmla="*/ 150 w 661"/>
                    <a:gd name="T11" fmla="*/ 458 h 462"/>
                    <a:gd name="T12" fmla="*/ 145 w 661"/>
                    <a:gd name="T13" fmla="*/ 456 h 462"/>
                    <a:gd name="T14" fmla="*/ 142 w 661"/>
                    <a:gd name="T15" fmla="*/ 453 h 462"/>
                    <a:gd name="T16" fmla="*/ 138 w 661"/>
                    <a:gd name="T17" fmla="*/ 449 h 462"/>
                    <a:gd name="T18" fmla="*/ 136 w 661"/>
                    <a:gd name="T19" fmla="*/ 445 h 462"/>
                    <a:gd name="T20" fmla="*/ 134 w 661"/>
                    <a:gd name="T21" fmla="*/ 439 h 462"/>
                    <a:gd name="T22" fmla="*/ 1 w 661"/>
                    <a:gd name="T23" fmla="*/ 43 h 462"/>
                    <a:gd name="T24" fmla="*/ 1 w 661"/>
                    <a:gd name="T25" fmla="*/ 43 h 462"/>
                    <a:gd name="T26" fmla="*/ 0 w 661"/>
                    <a:gd name="T27" fmla="*/ 35 h 462"/>
                    <a:gd name="T28" fmla="*/ 0 w 661"/>
                    <a:gd name="T29" fmla="*/ 28 h 462"/>
                    <a:gd name="T30" fmla="*/ 2 w 661"/>
                    <a:gd name="T31" fmla="*/ 19 h 462"/>
                    <a:gd name="T32" fmla="*/ 5 w 661"/>
                    <a:gd name="T33" fmla="*/ 13 h 462"/>
                    <a:gd name="T34" fmla="*/ 5 w 661"/>
                    <a:gd name="T35" fmla="*/ 13 h 462"/>
                    <a:gd name="T36" fmla="*/ 12 w 661"/>
                    <a:gd name="T37" fmla="*/ 7 h 462"/>
                    <a:gd name="T38" fmla="*/ 18 w 661"/>
                    <a:gd name="T39" fmla="*/ 3 h 462"/>
                    <a:gd name="T40" fmla="*/ 25 w 661"/>
                    <a:gd name="T41" fmla="*/ 0 h 462"/>
                    <a:gd name="T42" fmla="*/ 32 w 661"/>
                    <a:gd name="T43" fmla="*/ 0 h 462"/>
                    <a:gd name="T44" fmla="*/ 627 w 661"/>
                    <a:gd name="T45" fmla="*/ 0 h 462"/>
                    <a:gd name="T46" fmla="*/ 627 w 661"/>
                    <a:gd name="T47" fmla="*/ 0 h 462"/>
                    <a:gd name="T48" fmla="*/ 636 w 661"/>
                    <a:gd name="T49" fmla="*/ 0 h 462"/>
                    <a:gd name="T50" fmla="*/ 643 w 661"/>
                    <a:gd name="T51" fmla="*/ 3 h 462"/>
                    <a:gd name="T52" fmla="*/ 649 w 661"/>
                    <a:gd name="T53" fmla="*/ 7 h 462"/>
                    <a:gd name="T54" fmla="*/ 654 w 661"/>
                    <a:gd name="T55" fmla="*/ 13 h 462"/>
                    <a:gd name="T56" fmla="*/ 654 w 661"/>
                    <a:gd name="T57" fmla="*/ 13 h 462"/>
                    <a:gd name="T58" fmla="*/ 658 w 661"/>
                    <a:gd name="T59" fmla="*/ 19 h 462"/>
                    <a:gd name="T60" fmla="*/ 661 w 661"/>
                    <a:gd name="T61" fmla="*/ 28 h 462"/>
                    <a:gd name="T62" fmla="*/ 661 w 661"/>
                    <a:gd name="T63" fmla="*/ 35 h 462"/>
                    <a:gd name="T64" fmla="*/ 660 w 661"/>
                    <a:gd name="T65" fmla="*/ 43 h 462"/>
                    <a:gd name="T66" fmla="*/ 527 w 661"/>
                    <a:gd name="T67" fmla="*/ 439 h 462"/>
                    <a:gd name="T68" fmla="*/ 527 w 661"/>
                    <a:gd name="T69" fmla="*/ 439 h 462"/>
                    <a:gd name="T70" fmla="*/ 525 w 661"/>
                    <a:gd name="T71" fmla="*/ 445 h 462"/>
                    <a:gd name="T72" fmla="*/ 522 w 661"/>
                    <a:gd name="T73" fmla="*/ 449 h 462"/>
                    <a:gd name="T74" fmla="*/ 519 w 661"/>
                    <a:gd name="T75" fmla="*/ 453 h 462"/>
                    <a:gd name="T76" fmla="*/ 515 w 661"/>
                    <a:gd name="T77" fmla="*/ 456 h 462"/>
                    <a:gd name="T78" fmla="*/ 510 w 661"/>
                    <a:gd name="T79" fmla="*/ 458 h 462"/>
                    <a:gd name="T80" fmla="*/ 506 w 661"/>
                    <a:gd name="T81" fmla="*/ 460 h 462"/>
                    <a:gd name="T82" fmla="*/ 501 w 661"/>
                    <a:gd name="T83" fmla="*/ 461 h 462"/>
                    <a:gd name="T84" fmla="*/ 496 w 661"/>
                    <a:gd name="T85" fmla="*/ 462 h 462"/>
                    <a:gd name="T86" fmla="*/ 496 w 661"/>
                    <a:gd name="T87" fmla="*/ 462 h 462"/>
                    <a:gd name="T88" fmla="*/ 189 w 661"/>
                    <a:gd name="T89" fmla="*/ 396 h 462"/>
                    <a:gd name="T90" fmla="*/ 472 w 661"/>
                    <a:gd name="T91" fmla="*/ 396 h 462"/>
                    <a:gd name="T92" fmla="*/ 582 w 661"/>
                    <a:gd name="T93" fmla="*/ 65 h 462"/>
                    <a:gd name="T94" fmla="*/ 79 w 661"/>
                    <a:gd name="T95" fmla="*/ 65 h 462"/>
                    <a:gd name="T96" fmla="*/ 189 w 661"/>
                    <a:gd name="T97" fmla="*/ 396 h 46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</a:cxnLst>
                  <a:rect l="0" t="0" r="r" b="b"/>
                  <a:pathLst>
                    <a:path w="661" h="462">
                      <a:moveTo>
                        <a:pt x="496" y="462"/>
                      </a:moveTo>
                      <a:lnTo>
                        <a:pt x="165" y="462"/>
                      </a:lnTo>
                      <a:lnTo>
                        <a:pt x="165" y="462"/>
                      </a:lnTo>
                      <a:lnTo>
                        <a:pt x="160" y="461"/>
                      </a:lnTo>
                      <a:lnTo>
                        <a:pt x="154" y="460"/>
                      </a:lnTo>
                      <a:lnTo>
                        <a:pt x="150" y="458"/>
                      </a:lnTo>
                      <a:lnTo>
                        <a:pt x="145" y="456"/>
                      </a:lnTo>
                      <a:lnTo>
                        <a:pt x="142" y="453"/>
                      </a:lnTo>
                      <a:lnTo>
                        <a:pt x="138" y="449"/>
                      </a:lnTo>
                      <a:lnTo>
                        <a:pt x="136" y="445"/>
                      </a:lnTo>
                      <a:lnTo>
                        <a:pt x="134" y="439"/>
                      </a:lnTo>
                      <a:lnTo>
                        <a:pt x="1" y="43"/>
                      </a:lnTo>
                      <a:lnTo>
                        <a:pt x="1" y="43"/>
                      </a:lnTo>
                      <a:lnTo>
                        <a:pt x="0" y="35"/>
                      </a:lnTo>
                      <a:lnTo>
                        <a:pt x="0" y="28"/>
                      </a:lnTo>
                      <a:lnTo>
                        <a:pt x="2" y="19"/>
                      </a:lnTo>
                      <a:lnTo>
                        <a:pt x="5" y="13"/>
                      </a:lnTo>
                      <a:lnTo>
                        <a:pt x="5" y="13"/>
                      </a:lnTo>
                      <a:lnTo>
                        <a:pt x="12" y="7"/>
                      </a:lnTo>
                      <a:lnTo>
                        <a:pt x="18" y="3"/>
                      </a:lnTo>
                      <a:lnTo>
                        <a:pt x="25" y="0"/>
                      </a:lnTo>
                      <a:lnTo>
                        <a:pt x="32" y="0"/>
                      </a:lnTo>
                      <a:lnTo>
                        <a:pt x="627" y="0"/>
                      </a:lnTo>
                      <a:lnTo>
                        <a:pt x="627" y="0"/>
                      </a:lnTo>
                      <a:lnTo>
                        <a:pt x="636" y="0"/>
                      </a:lnTo>
                      <a:lnTo>
                        <a:pt x="643" y="3"/>
                      </a:lnTo>
                      <a:lnTo>
                        <a:pt x="649" y="7"/>
                      </a:lnTo>
                      <a:lnTo>
                        <a:pt x="654" y="13"/>
                      </a:lnTo>
                      <a:lnTo>
                        <a:pt x="654" y="13"/>
                      </a:lnTo>
                      <a:lnTo>
                        <a:pt x="658" y="19"/>
                      </a:lnTo>
                      <a:lnTo>
                        <a:pt x="661" y="28"/>
                      </a:lnTo>
                      <a:lnTo>
                        <a:pt x="661" y="35"/>
                      </a:lnTo>
                      <a:lnTo>
                        <a:pt x="660" y="43"/>
                      </a:lnTo>
                      <a:lnTo>
                        <a:pt x="527" y="439"/>
                      </a:lnTo>
                      <a:lnTo>
                        <a:pt x="527" y="439"/>
                      </a:lnTo>
                      <a:lnTo>
                        <a:pt x="525" y="445"/>
                      </a:lnTo>
                      <a:lnTo>
                        <a:pt x="522" y="449"/>
                      </a:lnTo>
                      <a:lnTo>
                        <a:pt x="519" y="453"/>
                      </a:lnTo>
                      <a:lnTo>
                        <a:pt x="515" y="456"/>
                      </a:lnTo>
                      <a:lnTo>
                        <a:pt x="510" y="458"/>
                      </a:lnTo>
                      <a:lnTo>
                        <a:pt x="506" y="460"/>
                      </a:lnTo>
                      <a:lnTo>
                        <a:pt x="501" y="461"/>
                      </a:lnTo>
                      <a:lnTo>
                        <a:pt x="496" y="462"/>
                      </a:lnTo>
                      <a:lnTo>
                        <a:pt x="496" y="462"/>
                      </a:lnTo>
                      <a:close/>
                      <a:moveTo>
                        <a:pt x="189" y="396"/>
                      </a:moveTo>
                      <a:lnTo>
                        <a:pt x="472" y="396"/>
                      </a:lnTo>
                      <a:lnTo>
                        <a:pt x="582" y="65"/>
                      </a:lnTo>
                      <a:lnTo>
                        <a:pt x="79" y="65"/>
                      </a:lnTo>
                      <a:lnTo>
                        <a:pt x="189" y="396"/>
                      </a:lnTo>
                      <a:close/>
                    </a:path>
                  </a:pathLst>
                </a:custGeom>
                <a:solidFill>
                  <a:srgbClr val="01010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47" name="Freeform 119">
                  <a:extLst>
                    <a:ext uri="{FF2B5EF4-FFF2-40B4-BE49-F238E27FC236}">
                      <a16:creationId xmlns:a16="http://schemas.microsoft.com/office/drawing/2014/main" id="{000A605D-9F2A-4876-B7FC-5B467D21E606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8632825" y="1909763"/>
                  <a:ext cx="123825" cy="139700"/>
                </a:xfrm>
                <a:custGeom>
                  <a:avLst/>
                  <a:gdLst>
                    <a:gd name="T0" fmla="*/ 237 w 546"/>
                    <a:gd name="T1" fmla="*/ 608 h 610"/>
                    <a:gd name="T2" fmla="*/ 193 w 546"/>
                    <a:gd name="T3" fmla="*/ 593 h 610"/>
                    <a:gd name="T4" fmla="*/ 155 w 546"/>
                    <a:gd name="T5" fmla="*/ 565 h 610"/>
                    <a:gd name="T6" fmla="*/ 118 w 546"/>
                    <a:gd name="T7" fmla="*/ 519 h 610"/>
                    <a:gd name="T8" fmla="*/ 93 w 546"/>
                    <a:gd name="T9" fmla="*/ 471 h 610"/>
                    <a:gd name="T10" fmla="*/ 46 w 546"/>
                    <a:gd name="T11" fmla="*/ 429 h 610"/>
                    <a:gd name="T12" fmla="*/ 17 w 546"/>
                    <a:gd name="T13" fmla="*/ 388 h 610"/>
                    <a:gd name="T14" fmla="*/ 4 w 546"/>
                    <a:gd name="T15" fmla="*/ 351 h 610"/>
                    <a:gd name="T16" fmla="*/ 1 w 546"/>
                    <a:gd name="T17" fmla="*/ 307 h 610"/>
                    <a:gd name="T18" fmla="*/ 10 w 546"/>
                    <a:gd name="T19" fmla="*/ 263 h 610"/>
                    <a:gd name="T20" fmla="*/ 34 w 546"/>
                    <a:gd name="T21" fmla="*/ 220 h 610"/>
                    <a:gd name="T22" fmla="*/ 68 w 546"/>
                    <a:gd name="T23" fmla="*/ 182 h 610"/>
                    <a:gd name="T24" fmla="*/ 101 w 546"/>
                    <a:gd name="T25" fmla="*/ 156 h 610"/>
                    <a:gd name="T26" fmla="*/ 165 w 546"/>
                    <a:gd name="T27" fmla="*/ 123 h 610"/>
                    <a:gd name="T28" fmla="*/ 271 w 546"/>
                    <a:gd name="T29" fmla="*/ 90 h 610"/>
                    <a:gd name="T30" fmla="*/ 366 w 546"/>
                    <a:gd name="T31" fmla="*/ 61 h 610"/>
                    <a:gd name="T32" fmla="*/ 465 w 546"/>
                    <a:gd name="T33" fmla="*/ 6 h 610"/>
                    <a:gd name="T34" fmla="*/ 485 w 546"/>
                    <a:gd name="T35" fmla="*/ 0 h 610"/>
                    <a:gd name="T36" fmla="*/ 506 w 546"/>
                    <a:gd name="T37" fmla="*/ 7 h 610"/>
                    <a:gd name="T38" fmla="*/ 520 w 546"/>
                    <a:gd name="T39" fmla="*/ 33 h 610"/>
                    <a:gd name="T40" fmla="*/ 538 w 546"/>
                    <a:gd name="T41" fmla="*/ 96 h 610"/>
                    <a:gd name="T42" fmla="*/ 546 w 546"/>
                    <a:gd name="T43" fmla="*/ 183 h 610"/>
                    <a:gd name="T44" fmla="*/ 531 w 546"/>
                    <a:gd name="T45" fmla="*/ 327 h 610"/>
                    <a:gd name="T46" fmla="*/ 488 w 546"/>
                    <a:gd name="T47" fmla="*/ 453 h 610"/>
                    <a:gd name="T48" fmla="*/ 451 w 546"/>
                    <a:gd name="T49" fmla="*/ 513 h 610"/>
                    <a:gd name="T50" fmla="*/ 401 w 546"/>
                    <a:gd name="T51" fmla="*/ 560 h 610"/>
                    <a:gd name="T52" fmla="*/ 334 w 546"/>
                    <a:gd name="T53" fmla="*/ 598 h 610"/>
                    <a:gd name="T54" fmla="*/ 289 w 546"/>
                    <a:gd name="T55" fmla="*/ 609 h 610"/>
                    <a:gd name="T56" fmla="*/ 139 w 546"/>
                    <a:gd name="T57" fmla="*/ 212 h 610"/>
                    <a:gd name="T58" fmla="*/ 96 w 546"/>
                    <a:gd name="T59" fmla="*/ 249 h 610"/>
                    <a:gd name="T60" fmla="*/ 67 w 546"/>
                    <a:gd name="T61" fmla="*/ 304 h 610"/>
                    <a:gd name="T62" fmla="*/ 68 w 546"/>
                    <a:gd name="T63" fmla="*/ 334 h 610"/>
                    <a:gd name="T64" fmla="*/ 81 w 546"/>
                    <a:gd name="T65" fmla="*/ 365 h 610"/>
                    <a:gd name="T66" fmla="*/ 126 w 546"/>
                    <a:gd name="T67" fmla="*/ 413 h 610"/>
                    <a:gd name="T68" fmla="*/ 146 w 546"/>
                    <a:gd name="T69" fmla="*/ 428 h 610"/>
                    <a:gd name="T70" fmla="*/ 160 w 546"/>
                    <a:gd name="T71" fmla="*/ 458 h 610"/>
                    <a:gd name="T72" fmla="*/ 207 w 546"/>
                    <a:gd name="T73" fmla="*/ 522 h 610"/>
                    <a:gd name="T74" fmla="*/ 235 w 546"/>
                    <a:gd name="T75" fmla="*/ 539 h 610"/>
                    <a:gd name="T76" fmla="*/ 259 w 546"/>
                    <a:gd name="T77" fmla="*/ 544 h 610"/>
                    <a:gd name="T78" fmla="*/ 299 w 546"/>
                    <a:gd name="T79" fmla="*/ 540 h 610"/>
                    <a:gd name="T80" fmla="*/ 347 w 546"/>
                    <a:gd name="T81" fmla="*/ 517 h 610"/>
                    <a:gd name="T82" fmla="*/ 395 w 546"/>
                    <a:gd name="T83" fmla="*/ 477 h 610"/>
                    <a:gd name="T84" fmla="*/ 440 w 546"/>
                    <a:gd name="T85" fmla="*/ 404 h 610"/>
                    <a:gd name="T86" fmla="*/ 469 w 546"/>
                    <a:gd name="T87" fmla="*/ 302 h 610"/>
                    <a:gd name="T88" fmla="*/ 480 w 546"/>
                    <a:gd name="T89" fmla="*/ 189 h 610"/>
                    <a:gd name="T90" fmla="*/ 468 w 546"/>
                    <a:gd name="T91" fmla="*/ 84 h 610"/>
                    <a:gd name="T92" fmla="*/ 397 w 546"/>
                    <a:gd name="T93" fmla="*/ 120 h 610"/>
                    <a:gd name="T94" fmla="*/ 288 w 546"/>
                    <a:gd name="T95" fmla="*/ 154 h 610"/>
                    <a:gd name="T96" fmla="*/ 211 w 546"/>
                    <a:gd name="T97" fmla="*/ 176 h 610"/>
                    <a:gd name="T98" fmla="*/ 139 w 546"/>
                    <a:gd name="T99" fmla="*/ 212 h 6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</a:cxnLst>
                  <a:rect l="0" t="0" r="r" b="b"/>
                  <a:pathLst>
                    <a:path w="546" h="610">
                      <a:moveTo>
                        <a:pt x="266" y="610"/>
                      </a:moveTo>
                      <a:lnTo>
                        <a:pt x="266" y="610"/>
                      </a:lnTo>
                      <a:lnTo>
                        <a:pt x="251" y="610"/>
                      </a:lnTo>
                      <a:lnTo>
                        <a:pt x="237" y="608"/>
                      </a:lnTo>
                      <a:lnTo>
                        <a:pt x="237" y="608"/>
                      </a:lnTo>
                      <a:lnTo>
                        <a:pt x="220" y="604"/>
                      </a:lnTo>
                      <a:lnTo>
                        <a:pt x="203" y="597"/>
                      </a:lnTo>
                      <a:lnTo>
                        <a:pt x="193" y="593"/>
                      </a:lnTo>
                      <a:lnTo>
                        <a:pt x="184" y="587"/>
                      </a:lnTo>
                      <a:lnTo>
                        <a:pt x="175" y="580"/>
                      </a:lnTo>
                      <a:lnTo>
                        <a:pt x="164" y="573"/>
                      </a:lnTo>
                      <a:lnTo>
                        <a:pt x="155" y="565"/>
                      </a:lnTo>
                      <a:lnTo>
                        <a:pt x="146" y="556"/>
                      </a:lnTo>
                      <a:lnTo>
                        <a:pt x="136" y="544"/>
                      </a:lnTo>
                      <a:lnTo>
                        <a:pt x="127" y="533"/>
                      </a:lnTo>
                      <a:lnTo>
                        <a:pt x="118" y="519"/>
                      </a:lnTo>
                      <a:lnTo>
                        <a:pt x="110" y="504"/>
                      </a:lnTo>
                      <a:lnTo>
                        <a:pt x="101" y="488"/>
                      </a:lnTo>
                      <a:lnTo>
                        <a:pt x="93" y="471"/>
                      </a:lnTo>
                      <a:lnTo>
                        <a:pt x="93" y="471"/>
                      </a:lnTo>
                      <a:lnTo>
                        <a:pt x="80" y="460"/>
                      </a:lnTo>
                      <a:lnTo>
                        <a:pt x="67" y="450"/>
                      </a:lnTo>
                      <a:lnTo>
                        <a:pt x="56" y="440"/>
                      </a:lnTo>
                      <a:lnTo>
                        <a:pt x="46" y="429"/>
                      </a:lnTo>
                      <a:lnTo>
                        <a:pt x="37" y="419"/>
                      </a:lnTo>
                      <a:lnTo>
                        <a:pt x="30" y="409"/>
                      </a:lnTo>
                      <a:lnTo>
                        <a:pt x="24" y="398"/>
                      </a:lnTo>
                      <a:lnTo>
                        <a:pt x="17" y="388"/>
                      </a:lnTo>
                      <a:lnTo>
                        <a:pt x="13" y="379"/>
                      </a:lnTo>
                      <a:lnTo>
                        <a:pt x="9" y="369"/>
                      </a:lnTo>
                      <a:lnTo>
                        <a:pt x="6" y="360"/>
                      </a:lnTo>
                      <a:lnTo>
                        <a:pt x="4" y="351"/>
                      </a:lnTo>
                      <a:lnTo>
                        <a:pt x="1" y="333"/>
                      </a:lnTo>
                      <a:lnTo>
                        <a:pt x="0" y="318"/>
                      </a:lnTo>
                      <a:lnTo>
                        <a:pt x="0" y="318"/>
                      </a:lnTo>
                      <a:lnTo>
                        <a:pt x="1" y="307"/>
                      </a:lnTo>
                      <a:lnTo>
                        <a:pt x="2" y="296"/>
                      </a:lnTo>
                      <a:lnTo>
                        <a:pt x="4" y="284"/>
                      </a:lnTo>
                      <a:lnTo>
                        <a:pt x="7" y="274"/>
                      </a:lnTo>
                      <a:lnTo>
                        <a:pt x="10" y="263"/>
                      </a:lnTo>
                      <a:lnTo>
                        <a:pt x="15" y="252"/>
                      </a:lnTo>
                      <a:lnTo>
                        <a:pt x="21" y="241"/>
                      </a:lnTo>
                      <a:lnTo>
                        <a:pt x="27" y="231"/>
                      </a:lnTo>
                      <a:lnTo>
                        <a:pt x="34" y="220"/>
                      </a:lnTo>
                      <a:lnTo>
                        <a:pt x="41" y="211"/>
                      </a:lnTo>
                      <a:lnTo>
                        <a:pt x="50" y="201"/>
                      </a:lnTo>
                      <a:lnTo>
                        <a:pt x="59" y="191"/>
                      </a:lnTo>
                      <a:lnTo>
                        <a:pt x="68" y="182"/>
                      </a:lnTo>
                      <a:lnTo>
                        <a:pt x="79" y="174"/>
                      </a:lnTo>
                      <a:lnTo>
                        <a:pt x="90" y="164"/>
                      </a:lnTo>
                      <a:lnTo>
                        <a:pt x="101" y="156"/>
                      </a:lnTo>
                      <a:lnTo>
                        <a:pt x="101" y="156"/>
                      </a:lnTo>
                      <a:lnTo>
                        <a:pt x="101" y="156"/>
                      </a:lnTo>
                      <a:lnTo>
                        <a:pt x="123" y="144"/>
                      </a:lnTo>
                      <a:lnTo>
                        <a:pt x="144" y="132"/>
                      </a:lnTo>
                      <a:lnTo>
                        <a:pt x="165" y="123"/>
                      </a:lnTo>
                      <a:lnTo>
                        <a:pt x="186" y="115"/>
                      </a:lnTo>
                      <a:lnTo>
                        <a:pt x="208" y="107"/>
                      </a:lnTo>
                      <a:lnTo>
                        <a:pt x="229" y="101"/>
                      </a:lnTo>
                      <a:lnTo>
                        <a:pt x="271" y="90"/>
                      </a:lnTo>
                      <a:lnTo>
                        <a:pt x="271" y="90"/>
                      </a:lnTo>
                      <a:lnTo>
                        <a:pt x="318" y="77"/>
                      </a:lnTo>
                      <a:lnTo>
                        <a:pt x="341" y="69"/>
                      </a:lnTo>
                      <a:lnTo>
                        <a:pt x="366" y="61"/>
                      </a:lnTo>
                      <a:lnTo>
                        <a:pt x="390" y="51"/>
                      </a:lnTo>
                      <a:lnTo>
                        <a:pt x="415" y="38"/>
                      </a:lnTo>
                      <a:lnTo>
                        <a:pt x="440" y="24"/>
                      </a:lnTo>
                      <a:lnTo>
                        <a:pt x="465" y="6"/>
                      </a:lnTo>
                      <a:lnTo>
                        <a:pt x="465" y="6"/>
                      </a:lnTo>
                      <a:lnTo>
                        <a:pt x="471" y="3"/>
                      </a:lnTo>
                      <a:lnTo>
                        <a:pt x="478" y="1"/>
                      </a:lnTo>
                      <a:lnTo>
                        <a:pt x="485" y="0"/>
                      </a:lnTo>
                      <a:lnTo>
                        <a:pt x="492" y="1"/>
                      </a:lnTo>
                      <a:lnTo>
                        <a:pt x="492" y="1"/>
                      </a:lnTo>
                      <a:lnTo>
                        <a:pt x="500" y="3"/>
                      </a:lnTo>
                      <a:lnTo>
                        <a:pt x="506" y="7"/>
                      </a:lnTo>
                      <a:lnTo>
                        <a:pt x="511" y="12"/>
                      </a:lnTo>
                      <a:lnTo>
                        <a:pt x="514" y="19"/>
                      </a:lnTo>
                      <a:lnTo>
                        <a:pt x="514" y="19"/>
                      </a:lnTo>
                      <a:lnTo>
                        <a:pt x="520" y="33"/>
                      </a:lnTo>
                      <a:lnTo>
                        <a:pt x="526" y="49"/>
                      </a:lnTo>
                      <a:lnTo>
                        <a:pt x="531" y="63"/>
                      </a:lnTo>
                      <a:lnTo>
                        <a:pt x="535" y="80"/>
                      </a:lnTo>
                      <a:lnTo>
                        <a:pt x="538" y="96"/>
                      </a:lnTo>
                      <a:lnTo>
                        <a:pt x="541" y="113"/>
                      </a:lnTo>
                      <a:lnTo>
                        <a:pt x="543" y="129"/>
                      </a:lnTo>
                      <a:lnTo>
                        <a:pt x="545" y="147"/>
                      </a:lnTo>
                      <a:lnTo>
                        <a:pt x="546" y="183"/>
                      </a:lnTo>
                      <a:lnTo>
                        <a:pt x="545" y="218"/>
                      </a:lnTo>
                      <a:lnTo>
                        <a:pt x="543" y="255"/>
                      </a:lnTo>
                      <a:lnTo>
                        <a:pt x="538" y="291"/>
                      </a:lnTo>
                      <a:lnTo>
                        <a:pt x="531" y="327"/>
                      </a:lnTo>
                      <a:lnTo>
                        <a:pt x="522" y="361"/>
                      </a:lnTo>
                      <a:lnTo>
                        <a:pt x="513" y="394"/>
                      </a:lnTo>
                      <a:lnTo>
                        <a:pt x="502" y="425"/>
                      </a:lnTo>
                      <a:lnTo>
                        <a:pt x="488" y="453"/>
                      </a:lnTo>
                      <a:lnTo>
                        <a:pt x="475" y="480"/>
                      </a:lnTo>
                      <a:lnTo>
                        <a:pt x="468" y="491"/>
                      </a:lnTo>
                      <a:lnTo>
                        <a:pt x="459" y="503"/>
                      </a:lnTo>
                      <a:lnTo>
                        <a:pt x="451" y="513"/>
                      </a:lnTo>
                      <a:lnTo>
                        <a:pt x="443" y="522"/>
                      </a:lnTo>
                      <a:lnTo>
                        <a:pt x="443" y="522"/>
                      </a:lnTo>
                      <a:lnTo>
                        <a:pt x="422" y="542"/>
                      </a:lnTo>
                      <a:lnTo>
                        <a:pt x="401" y="560"/>
                      </a:lnTo>
                      <a:lnTo>
                        <a:pt x="379" y="575"/>
                      </a:lnTo>
                      <a:lnTo>
                        <a:pt x="357" y="588"/>
                      </a:lnTo>
                      <a:lnTo>
                        <a:pt x="346" y="593"/>
                      </a:lnTo>
                      <a:lnTo>
                        <a:pt x="334" y="598"/>
                      </a:lnTo>
                      <a:lnTo>
                        <a:pt x="323" y="601"/>
                      </a:lnTo>
                      <a:lnTo>
                        <a:pt x="311" y="605"/>
                      </a:lnTo>
                      <a:lnTo>
                        <a:pt x="300" y="607"/>
                      </a:lnTo>
                      <a:lnTo>
                        <a:pt x="289" y="609"/>
                      </a:lnTo>
                      <a:lnTo>
                        <a:pt x="277" y="610"/>
                      </a:lnTo>
                      <a:lnTo>
                        <a:pt x="266" y="610"/>
                      </a:lnTo>
                      <a:lnTo>
                        <a:pt x="266" y="610"/>
                      </a:lnTo>
                      <a:close/>
                      <a:moveTo>
                        <a:pt x="139" y="212"/>
                      </a:moveTo>
                      <a:lnTo>
                        <a:pt x="139" y="212"/>
                      </a:lnTo>
                      <a:lnTo>
                        <a:pt x="122" y="223"/>
                      </a:lnTo>
                      <a:lnTo>
                        <a:pt x="107" y="236"/>
                      </a:lnTo>
                      <a:lnTo>
                        <a:pt x="96" y="249"/>
                      </a:lnTo>
                      <a:lnTo>
                        <a:pt x="86" y="263"/>
                      </a:lnTo>
                      <a:lnTo>
                        <a:pt x="77" y="276"/>
                      </a:lnTo>
                      <a:lnTo>
                        <a:pt x="71" y="291"/>
                      </a:lnTo>
                      <a:lnTo>
                        <a:pt x="67" y="304"/>
                      </a:lnTo>
                      <a:lnTo>
                        <a:pt x="66" y="319"/>
                      </a:lnTo>
                      <a:lnTo>
                        <a:pt x="66" y="319"/>
                      </a:lnTo>
                      <a:lnTo>
                        <a:pt x="66" y="327"/>
                      </a:lnTo>
                      <a:lnTo>
                        <a:pt x="68" y="334"/>
                      </a:lnTo>
                      <a:lnTo>
                        <a:pt x="70" y="342"/>
                      </a:lnTo>
                      <a:lnTo>
                        <a:pt x="72" y="350"/>
                      </a:lnTo>
                      <a:lnTo>
                        <a:pt x="76" y="358"/>
                      </a:lnTo>
                      <a:lnTo>
                        <a:pt x="81" y="365"/>
                      </a:lnTo>
                      <a:lnTo>
                        <a:pt x="90" y="379"/>
                      </a:lnTo>
                      <a:lnTo>
                        <a:pt x="101" y="391"/>
                      </a:lnTo>
                      <a:lnTo>
                        <a:pt x="113" y="402"/>
                      </a:lnTo>
                      <a:lnTo>
                        <a:pt x="126" y="413"/>
                      </a:lnTo>
                      <a:lnTo>
                        <a:pt x="139" y="421"/>
                      </a:lnTo>
                      <a:lnTo>
                        <a:pt x="139" y="421"/>
                      </a:lnTo>
                      <a:lnTo>
                        <a:pt x="142" y="424"/>
                      </a:lnTo>
                      <a:lnTo>
                        <a:pt x="146" y="428"/>
                      </a:lnTo>
                      <a:lnTo>
                        <a:pt x="148" y="432"/>
                      </a:lnTo>
                      <a:lnTo>
                        <a:pt x="151" y="437"/>
                      </a:lnTo>
                      <a:lnTo>
                        <a:pt x="151" y="437"/>
                      </a:lnTo>
                      <a:lnTo>
                        <a:pt x="160" y="458"/>
                      </a:lnTo>
                      <a:lnTo>
                        <a:pt x="171" y="479"/>
                      </a:lnTo>
                      <a:lnTo>
                        <a:pt x="182" y="496"/>
                      </a:lnTo>
                      <a:lnTo>
                        <a:pt x="194" y="510"/>
                      </a:lnTo>
                      <a:lnTo>
                        <a:pt x="207" y="522"/>
                      </a:lnTo>
                      <a:lnTo>
                        <a:pt x="214" y="528"/>
                      </a:lnTo>
                      <a:lnTo>
                        <a:pt x="220" y="532"/>
                      </a:lnTo>
                      <a:lnTo>
                        <a:pt x="228" y="536"/>
                      </a:lnTo>
                      <a:lnTo>
                        <a:pt x="235" y="539"/>
                      </a:lnTo>
                      <a:lnTo>
                        <a:pt x="242" y="541"/>
                      </a:lnTo>
                      <a:lnTo>
                        <a:pt x="249" y="543"/>
                      </a:lnTo>
                      <a:lnTo>
                        <a:pt x="249" y="543"/>
                      </a:lnTo>
                      <a:lnTo>
                        <a:pt x="259" y="544"/>
                      </a:lnTo>
                      <a:lnTo>
                        <a:pt x="269" y="544"/>
                      </a:lnTo>
                      <a:lnTo>
                        <a:pt x="278" y="544"/>
                      </a:lnTo>
                      <a:lnTo>
                        <a:pt x="289" y="542"/>
                      </a:lnTo>
                      <a:lnTo>
                        <a:pt x="299" y="540"/>
                      </a:lnTo>
                      <a:lnTo>
                        <a:pt x="308" y="537"/>
                      </a:lnTo>
                      <a:lnTo>
                        <a:pt x="319" y="533"/>
                      </a:lnTo>
                      <a:lnTo>
                        <a:pt x="328" y="528"/>
                      </a:lnTo>
                      <a:lnTo>
                        <a:pt x="347" y="517"/>
                      </a:lnTo>
                      <a:lnTo>
                        <a:pt x="364" y="505"/>
                      </a:lnTo>
                      <a:lnTo>
                        <a:pt x="381" y="490"/>
                      </a:lnTo>
                      <a:lnTo>
                        <a:pt x="395" y="477"/>
                      </a:lnTo>
                      <a:lnTo>
                        <a:pt x="395" y="477"/>
                      </a:lnTo>
                      <a:lnTo>
                        <a:pt x="408" y="462"/>
                      </a:lnTo>
                      <a:lnTo>
                        <a:pt x="419" y="445"/>
                      </a:lnTo>
                      <a:lnTo>
                        <a:pt x="429" y="425"/>
                      </a:lnTo>
                      <a:lnTo>
                        <a:pt x="440" y="404"/>
                      </a:lnTo>
                      <a:lnTo>
                        <a:pt x="448" y="381"/>
                      </a:lnTo>
                      <a:lnTo>
                        <a:pt x="456" y="356"/>
                      </a:lnTo>
                      <a:lnTo>
                        <a:pt x="463" y="330"/>
                      </a:lnTo>
                      <a:lnTo>
                        <a:pt x="469" y="302"/>
                      </a:lnTo>
                      <a:lnTo>
                        <a:pt x="474" y="274"/>
                      </a:lnTo>
                      <a:lnTo>
                        <a:pt x="477" y="246"/>
                      </a:lnTo>
                      <a:lnTo>
                        <a:pt x="480" y="218"/>
                      </a:lnTo>
                      <a:lnTo>
                        <a:pt x="480" y="189"/>
                      </a:lnTo>
                      <a:lnTo>
                        <a:pt x="480" y="162"/>
                      </a:lnTo>
                      <a:lnTo>
                        <a:pt x="477" y="134"/>
                      </a:lnTo>
                      <a:lnTo>
                        <a:pt x="474" y="109"/>
                      </a:lnTo>
                      <a:lnTo>
                        <a:pt x="468" y="84"/>
                      </a:lnTo>
                      <a:lnTo>
                        <a:pt x="468" y="84"/>
                      </a:lnTo>
                      <a:lnTo>
                        <a:pt x="444" y="98"/>
                      </a:lnTo>
                      <a:lnTo>
                        <a:pt x="420" y="110"/>
                      </a:lnTo>
                      <a:lnTo>
                        <a:pt x="397" y="120"/>
                      </a:lnTo>
                      <a:lnTo>
                        <a:pt x="374" y="128"/>
                      </a:lnTo>
                      <a:lnTo>
                        <a:pt x="352" y="136"/>
                      </a:lnTo>
                      <a:lnTo>
                        <a:pt x="330" y="143"/>
                      </a:lnTo>
                      <a:lnTo>
                        <a:pt x="288" y="154"/>
                      </a:lnTo>
                      <a:lnTo>
                        <a:pt x="288" y="154"/>
                      </a:lnTo>
                      <a:lnTo>
                        <a:pt x="248" y="164"/>
                      </a:lnTo>
                      <a:lnTo>
                        <a:pt x="230" y="170"/>
                      </a:lnTo>
                      <a:lnTo>
                        <a:pt x="211" y="176"/>
                      </a:lnTo>
                      <a:lnTo>
                        <a:pt x="192" y="183"/>
                      </a:lnTo>
                      <a:lnTo>
                        <a:pt x="174" y="191"/>
                      </a:lnTo>
                      <a:lnTo>
                        <a:pt x="156" y="201"/>
                      </a:lnTo>
                      <a:lnTo>
                        <a:pt x="139" y="212"/>
                      </a:lnTo>
                      <a:lnTo>
                        <a:pt x="139" y="212"/>
                      </a:lnTo>
                      <a:close/>
                    </a:path>
                  </a:pathLst>
                </a:custGeom>
                <a:solidFill>
                  <a:srgbClr val="01010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48" name="Freeform 120">
                  <a:extLst>
                    <a:ext uri="{FF2B5EF4-FFF2-40B4-BE49-F238E27FC236}">
                      <a16:creationId xmlns:a16="http://schemas.microsoft.com/office/drawing/2014/main" id="{1BD9B76F-C012-49B3-83BB-FC9D1E326DEC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8464550" y="1825625"/>
                  <a:ext cx="161925" cy="190500"/>
                </a:xfrm>
                <a:custGeom>
                  <a:avLst/>
                  <a:gdLst>
                    <a:gd name="T0" fmla="*/ 320 w 718"/>
                    <a:gd name="T1" fmla="*/ 840 h 842"/>
                    <a:gd name="T2" fmla="*/ 262 w 718"/>
                    <a:gd name="T3" fmla="*/ 822 h 842"/>
                    <a:gd name="T4" fmla="*/ 203 w 718"/>
                    <a:gd name="T5" fmla="*/ 787 h 842"/>
                    <a:gd name="T6" fmla="*/ 145 w 718"/>
                    <a:gd name="T7" fmla="*/ 735 h 842"/>
                    <a:gd name="T8" fmla="*/ 105 w 718"/>
                    <a:gd name="T9" fmla="*/ 690 h 842"/>
                    <a:gd name="T10" fmla="*/ 67 w 718"/>
                    <a:gd name="T11" fmla="*/ 625 h 842"/>
                    <a:gd name="T12" fmla="*/ 37 w 718"/>
                    <a:gd name="T13" fmla="*/ 547 h 842"/>
                    <a:gd name="T14" fmla="*/ 15 w 718"/>
                    <a:gd name="T15" fmla="*/ 456 h 842"/>
                    <a:gd name="T16" fmla="*/ 3 w 718"/>
                    <a:gd name="T17" fmla="*/ 359 h 842"/>
                    <a:gd name="T18" fmla="*/ 1 w 718"/>
                    <a:gd name="T19" fmla="*/ 261 h 842"/>
                    <a:gd name="T20" fmla="*/ 10 w 718"/>
                    <a:gd name="T21" fmla="*/ 166 h 842"/>
                    <a:gd name="T22" fmla="*/ 32 w 718"/>
                    <a:gd name="T23" fmla="*/ 77 h 842"/>
                    <a:gd name="T24" fmla="*/ 57 w 718"/>
                    <a:gd name="T25" fmla="*/ 18 h 842"/>
                    <a:gd name="T26" fmla="*/ 80 w 718"/>
                    <a:gd name="T27" fmla="*/ 1 h 842"/>
                    <a:gd name="T28" fmla="*/ 101 w 718"/>
                    <a:gd name="T29" fmla="*/ 5 h 842"/>
                    <a:gd name="T30" fmla="*/ 138 w 718"/>
                    <a:gd name="T31" fmla="*/ 31 h 842"/>
                    <a:gd name="T32" fmla="*/ 202 w 718"/>
                    <a:gd name="T33" fmla="*/ 70 h 842"/>
                    <a:gd name="T34" fmla="*/ 333 w 718"/>
                    <a:gd name="T35" fmla="*/ 119 h 842"/>
                    <a:gd name="T36" fmla="*/ 439 w 718"/>
                    <a:gd name="T37" fmla="*/ 152 h 842"/>
                    <a:gd name="T38" fmla="*/ 523 w 718"/>
                    <a:gd name="T39" fmla="*/ 188 h 842"/>
                    <a:gd name="T40" fmla="*/ 585 w 718"/>
                    <a:gd name="T41" fmla="*/ 228 h 842"/>
                    <a:gd name="T42" fmla="*/ 627 w 718"/>
                    <a:gd name="T43" fmla="*/ 269 h 842"/>
                    <a:gd name="T44" fmla="*/ 664 w 718"/>
                    <a:gd name="T45" fmla="*/ 317 h 842"/>
                    <a:gd name="T46" fmla="*/ 698 w 718"/>
                    <a:gd name="T47" fmla="*/ 380 h 842"/>
                    <a:gd name="T48" fmla="*/ 715 w 718"/>
                    <a:gd name="T49" fmla="*/ 440 h 842"/>
                    <a:gd name="T50" fmla="*/ 716 w 718"/>
                    <a:gd name="T51" fmla="*/ 498 h 842"/>
                    <a:gd name="T52" fmla="*/ 705 w 718"/>
                    <a:gd name="T53" fmla="*/ 537 h 842"/>
                    <a:gd name="T54" fmla="*/ 678 w 718"/>
                    <a:gd name="T55" fmla="*/ 585 h 842"/>
                    <a:gd name="T56" fmla="*/ 635 w 718"/>
                    <a:gd name="T57" fmla="*/ 628 h 842"/>
                    <a:gd name="T58" fmla="*/ 577 w 718"/>
                    <a:gd name="T59" fmla="*/ 667 h 842"/>
                    <a:gd name="T60" fmla="*/ 534 w 718"/>
                    <a:gd name="T61" fmla="*/ 701 h 842"/>
                    <a:gd name="T62" fmla="*/ 498 w 718"/>
                    <a:gd name="T63" fmla="*/ 760 h 842"/>
                    <a:gd name="T64" fmla="*/ 455 w 718"/>
                    <a:gd name="T65" fmla="*/ 802 h 842"/>
                    <a:gd name="T66" fmla="*/ 409 w 718"/>
                    <a:gd name="T67" fmla="*/ 830 h 842"/>
                    <a:gd name="T68" fmla="*/ 371 w 718"/>
                    <a:gd name="T69" fmla="*/ 840 h 842"/>
                    <a:gd name="T70" fmla="*/ 99 w 718"/>
                    <a:gd name="T71" fmla="*/ 85 h 842"/>
                    <a:gd name="T72" fmla="*/ 83 w 718"/>
                    <a:gd name="T73" fmla="*/ 138 h 842"/>
                    <a:gd name="T74" fmla="*/ 68 w 718"/>
                    <a:gd name="T75" fmla="*/ 235 h 842"/>
                    <a:gd name="T76" fmla="*/ 72 w 718"/>
                    <a:gd name="T77" fmla="*/ 399 h 842"/>
                    <a:gd name="T78" fmla="*/ 107 w 718"/>
                    <a:gd name="T79" fmla="*/ 550 h 842"/>
                    <a:gd name="T80" fmla="*/ 142 w 718"/>
                    <a:gd name="T81" fmla="*/ 625 h 842"/>
                    <a:gd name="T82" fmla="*/ 165 w 718"/>
                    <a:gd name="T83" fmla="*/ 661 h 842"/>
                    <a:gd name="T84" fmla="*/ 217 w 718"/>
                    <a:gd name="T85" fmla="*/ 713 h 842"/>
                    <a:gd name="T86" fmla="*/ 269 w 718"/>
                    <a:gd name="T87" fmla="*/ 751 h 842"/>
                    <a:gd name="T88" fmla="*/ 317 w 718"/>
                    <a:gd name="T89" fmla="*/ 771 h 842"/>
                    <a:gd name="T90" fmla="*/ 362 w 718"/>
                    <a:gd name="T91" fmla="*/ 774 h 842"/>
                    <a:gd name="T92" fmla="*/ 388 w 718"/>
                    <a:gd name="T93" fmla="*/ 767 h 842"/>
                    <a:gd name="T94" fmla="*/ 422 w 718"/>
                    <a:gd name="T95" fmla="*/ 744 h 842"/>
                    <a:gd name="T96" fmla="*/ 460 w 718"/>
                    <a:gd name="T97" fmla="*/ 698 h 842"/>
                    <a:gd name="T98" fmla="*/ 490 w 718"/>
                    <a:gd name="T99" fmla="*/ 640 h 842"/>
                    <a:gd name="T100" fmla="*/ 505 w 718"/>
                    <a:gd name="T101" fmla="*/ 628 h 842"/>
                    <a:gd name="T102" fmla="*/ 594 w 718"/>
                    <a:gd name="T103" fmla="*/ 577 h 842"/>
                    <a:gd name="T104" fmla="*/ 627 w 718"/>
                    <a:gd name="T105" fmla="*/ 543 h 842"/>
                    <a:gd name="T106" fmla="*/ 646 w 718"/>
                    <a:gd name="T107" fmla="*/ 506 h 842"/>
                    <a:gd name="T108" fmla="*/ 652 w 718"/>
                    <a:gd name="T109" fmla="*/ 472 h 842"/>
                    <a:gd name="T110" fmla="*/ 643 w 718"/>
                    <a:gd name="T111" fmla="*/ 423 h 842"/>
                    <a:gd name="T112" fmla="*/ 622 w 718"/>
                    <a:gd name="T113" fmla="*/ 374 h 842"/>
                    <a:gd name="T114" fmla="*/ 576 w 718"/>
                    <a:gd name="T115" fmla="*/ 312 h 842"/>
                    <a:gd name="T116" fmla="*/ 542 w 718"/>
                    <a:gd name="T117" fmla="*/ 279 h 842"/>
                    <a:gd name="T118" fmla="*/ 489 w 718"/>
                    <a:gd name="T119" fmla="*/ 245 h 842"/>
                    <a:gd name="T120" fmla="*/ 381 w 718"/>
                    <a:gd name="T121" fmla="*/ 203 h 842"/>
                    <a:gd name="T122" fmla="*/ 255 w 718"/>
                    <a:gd name="T123" fmla="*/ 164 h 842"/>
                    <a:gd name="T124" fmla="*/ 130 w 718"/>
                    <a:gd name="T125" fmla="*/ 106 h 84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  <a:cxn ang="0">
                      <a:pos x="T124" y="T125"/>
                    </a:cxn>
                  </a:cxnLst>
                  <a:rect l="0" t="0" r="r" b="b"/>
                  <a:pathLst>
                    <a:path w="718" h="842">
                      <a:moveTo>
                        <a:pt x="347" y="842"/>
                      </a:moveTo>
                      <a:lnTo>
                        <a:pt x="347" y="842"/>
                      </a:lnTo>
                      <a:lnTo>
                        <a:pt x="334" y="841"/>
                      </a:lnTo>
                      <a:lnTo>
                        <a:pt x="320" y="840"/>
                      </a:lnTo>
                      <a:lnTo>
                        <a:pt x="305" y="836"/>
                      </a:lnTo>
                      <a:lnTo>
                        <a:pt x="291" y="832"/>
                      </a:lnTo>
                      <a:lnTo>
                        <a:pt x="276" y="827"/>
                      </a:lnTo>
                      <a:lnTo>
                        <a:pt x="262" y="822"/>
                      </a:lnTo>
                      <a:lnTo>
                        <a:pt x="247" y="815"/>
                      </a:lnTo>
                      <a:lnTo>
                        <a:pt x="233" y="806"/>
                      </a:lnTo>
                      <a:lnTo>
                        <a:pt x="217" y="797"/>
                      </a:lnTo>
                      <a:lnTo>
                        <a:pt x="203" y="787"/>
                      </a:lnTo>
                      <a:lnTo>
                        <a:pt x="188" y="775"/>
                      </a:lnTo>
                      <a:lnTo>
                        <a:pt x="174" y="763"/>
                      </a:lnTo>
                      <a:lnTo>
                        <a:pt x="159" y="750"/>
                      </a:lnTo>
                      <a:lnTo>
                        <a:pt x="145" y="735"/>
                      </a:lnTo>
                      <a:lnTo>
                        <a:pt x="130" y="720"/>
                      </a:lnTo>
                      <a:lnTo>
                        <a:pt x="116" y="703"/>
                      </a:lnTo>
                      <a:lnTo>
                        <a:pt x="116" y="703"/>
                      </a:lnTo>
                      <a:lnTo>
                        <a:pt x="105" y="690"/>
                      </a:lnTo>
                      <a:lnTo>
                        <a:pt x="95" y="676"/>
                      </a:lnTo>
                      <a:lnTo>
                        <a:pt x="86" y="661"/>
                      </a:lnTo>
                      <a:lnTo>
                        <a:pt x="76" y="643"/>
                      </a:lnTo>
                      <a:lnTo>
                        <a:pt x="67" y="625"/>
                      </a:lnTo>
                      <a:lnTo>
                        <a:pt x="59" y="607"/>
                      </a:lnTo>
                      <a:lnTo>
                        <a:pt x="52" y="588"/>
                      </a:lnTo>
                      <a:lnTo>
                        <a:pt x="44" y="567"/>
                      </a:lnTo>
                      <a:lnTo>
                        <a:pt x="37" y="547"/>
                      </a:lnTo>
                      <a:lnTo>
                        <a:pt x="31" y="525"/>
                      </a:lnTo>
                      <a:lnTo>
                        <a:pt x="25" y="502"/>
                      </a:lnTo>
                      <a:lnTo>
                        <a:pt x="19" y="479"/>
                      </a:lnTo>
                      <a:lnTo>
                        <a:pt x="15" y="456"/>
                      </a:lnTo>
                      <a:lnTo>
                        <a:pt x="11" y="432"/>
                      </a:lnTo>
                      <a:lnTo>
                        <a:pt x="8" y="408"/>
                      </a:lnTo>
                      <a:lnTo>
                        <a:pt x="5" y="384"/>
                      </a:lnTo>
                      <a:lnTo>
                        <a:pt x="3" y="359"/>
                      </a:lnTo>
                      <a:lnTo>
                        <a:pt x="1" y="335"/>
                      </a:lnTo>
                      <a:lnTo>
                        <a:pt x="1" y="310"/>
                      </a:lnTo>
                      <a:lnTo>
                        <a:pt x="0" y="286"/>
                      </a:lnTo>
                      <a:lnTo>
                        <a:pt x="1" y="261"/>
                      </a:lnTo>
                      <a:lnTo>
                        <a:pt x="2" y="236"/>
                      </a:lnTo>
                      <a:lnTo>
                        <a:pt x="4" y="213"/>
                      </a:lnTo>
                      <a:lnTo>
                        <a:pt x="7" y="189"/>
                      </a:lnTo>
                      <a:lnTo>
                        <a:pt x="10" y="166"/>
                      </a:lnTo>
                      <a:lnTo>
                        <a:pt x="14" y="142"/>
                      </a:lnTo>
                      <a:lnTo>
                        <a:pt x="19" y="120"/>
                      </a:lnTo>
                      <a:lnTo>
                        <a:pt x="26" y="99"/>
                      </a:lnTo>
                      <a:lnTo>
                        <a:pt x="32" y="77"/>
                      </a:lnTo>
                      <a:lnTo>
                        <a:pt x="39" y="56"/>
                      </a:lnTo>
                      <a:lnTo>
                        <a:pt x="47" y="37"/>
                      </a:lnTo>
                      <a:lnTo>
                        <a:pt x="57" y="18"/>
                      </a:lnTo>
                      <a:lnTo>
                        <a:pt x="57" y="18"/>
                      </a:lnTo>
                      <a:lnTo>
                        <a:pt x="61" y="12"/>
                      </a:lnTo>
                      <a:lnTo>
                        <a:pt x="67" y="7"/>
                      </a:lnTo>
                      <a:lnTo>
                        <a:pt x="73" y="3"/>
                      </a:lnTo>
                      <a:lnTo>
                        <a:pt x="80" y="1"/>
                      </a:lnTo>
                      <a:lnTo>
                        <a:pt x="80" y="1"/>
                      </a:lnTo>
                      <a:lnTo>
                        <a:pt x="88" y="0"/>
                      </a:lnTo>
                      <a:lnTo>
                        <a:pt x="95" y="1"/>
                      </a:lnTo>
                      <a:lnTo>
                        <a:pt x="101" y="5"/>
                      </a:lnTo>
                      <a:lnTo>
                        <a:pt x="107" y="9"/>
                      </a:lnTo>
                      <a:lnTo>
                        <a:pt x="107" y="9"/>
                      </a:lnTo>
                      <a:lnTo>
                        <a:pt x="123" y="21"/>
                      </a:lnTo>
                      <a:lnTo>
                        <a:pt x="138" y="31"/>
                      </a:lnTo>
                      <a:lnTo>
                        <a:pt x="154" y="43"/>
                      </a:lnTo>
                      <a:lnTo>
                        <a:pt x="169" y="52"/>
                      </a:lnTo>
                      <a:lnTo>
                        <a:pt x="185" y="61"/>
                      </a:lnTo>
                      <a:lnTo>
                        <a:pt x="202" y="70"/>
                      </a:lnTo>
                      <a:lnTo>
                        <a:pt x="234" y="84"/>
                      </a:lnTo>
                      <a:lnTo>
                        <a:pt x="267" y="98"/>
                      </a:lnTo>
                      <a:lnTo>
                        <a:pt x="300" y="109"/>
                      </a:lnTo>
                      <a:lnTo>
                        <a:pt x="333" y="119"/>
                      </a:lnTo>
                      <a:lnTo>
                        <a:pt x="366" y="130"/>
                      </a:lnTo>
                      <a:lnTo>
                        <a:pt x="366" y="130"/>
                      </a:lnTo>
                      <a:lnTo>
                        <a:pt x="402" y="141"/>
                      </a:lnTo>
                      <a:lnTo>
                        <a:pt x="439" y="152"/>
                      </a:lnTo>
                      <a:lnTo>
                        <a:pt x="474" y="165"/>
                      </a:lnTo>
                      <a:lnTo>
                        <a:pt x="490" y="172"/>
                      </a:lnTo>
                      <a:lnTo>
                        <a:pt x="507" y="179"/>
                      </a:lnTo>
                      <a:lnTo>
                        <a:pt x="523" y="188"/>
                      </a:lnTo>
                      <a:lnTo>
                        <a:pt x="540" y="197"/>
                      </a:lnTo>
                      <a:lnTo>
                        <a:pt x="555" y="206"/>
                      </a:lnTo>
                      <a:lnTo>
                        <a:pt x="571" y="217"/>
                      </a:lnTo>
                      <a:lnTo>
                        <a:pt x="585" y="228"/>
                      </a:lnTo>
                      <a:lnTo>
                        <a:pt x="600" y="240"/>
                      </a:lnTo>
                      <a:lnTo>
                        <a:pt x="613" y="254"/>
                      </a:lnTo>
                      <a:lnTo>
                        <a:pt x="627" y="269"/>
                      </a:lnTo>
                      <a:lnTo>
                        <a:pt x="627" y="269"/>
                      </a:lnTo>
                      <a:lnTo>
                        <a:pt x="627" y="269"/>
                      </a:lnTo>
                      <a:lnTo>
                        <a:pt x="640" y="285"/>
                      </a:lnTo>
                      <a:lnTo>
                        <a:pt x="653" y="301"/>
                      </a:lnTo>
                      <a:lnTo>
                        <a:pt x="664" y="317"/>
                      </a:lnTo>
                      <a:lnTo>
                        <a:pt x="673" y="334"/>
                      </a:lnTo>
                      <a:lnTo>
                        <a:pt x="683" y="349"/>
                      </a:lnTo>
                      <a:lnTo>
                        <a:pt x="691" y="365"/>
                      </a:lnTo>
                      <a:lnTo>
                        <a:pt x="698" y="380"/>
                      </a:lnTo>
                      <a:lnTo>
                        <a:pt x="705" y="396"/>
                      </a:lnTo>
                      <a:lnTo>
                        <a:pt x="709" y="410"/>
                      </a:lnTo>
                      <a:lnTo>
                        <a:pt x="713" y="426"/>
                      </a:lnTo>
                      <a:lnTo>
                        <a:pt x="715" y="440"/>
                      </a:lnTo>
                      <a:lnTo>
                        <a:pt x="717" y="455"/>
                      </a:lnTo>
                      <a:lnTo>
                        <a:pt x="718" y="469"/>
                      </a:lnTo>
                      <a:lnTo>
                        <a:pt x="717" y="484"/>
                      </a:lnTo>
                      <a:lnTo>
                        <a:pt x="716" y="498"/>
                      </a:lnTo>
                      <a:lnTo>
                        <a:pt x="713" y="512"/>
                      </a:lnTo>
                      <a:lnTo>
                        <a:pt x="713" y="512"/>
                      </a:lnTo>
                      <a:lnTo>
                        <a:pt x="710" y="525"/>
                      </a:lnTo>
                      <a:lnTo>
                        <a:pt x="705" y="537"/>
                      </a:lnTo>
                      <a:lnTo>
                        <a:pt x="699" y="550"/>
                      </a:lnTo>
                      <a:lnTo>
                        <a:pt x="693" y="562"/>
                      </a:lnTo>
                      <a:lnTo>
                        <a:pt x="686" y="574"/>
                      </a:lnTo>
                      <a:lnTo>
                        <a:pt x="678" y="585"/>
                      </a:lnTo>
                      <a:lnTo>
                        <a:pt x="668" y="596"/>
                      </a:lnTo>
                      <a:lnTo>
                        <a:pt x="658" y="608"/>
                      </a:lnTo>
                      <a:lnTo>
                        <a:pt x="647" y="618"/>
                      </a:lnTo>
                      <a:lnTo>
                        <a:pt x="635" y="628"/>
                      </a:lnTo>
                      <a:lnTo>
                        <a:pt x="622" y="639"/>
                      </a:lnTo>
                      <a:lnTo>
                        <a:pt x="608" y="648"/>
                      </a:lnTo>
                      <a:lnTo>
                        <a:pt x="593" y="657"/>
                      </a:lnTo>
                      <a:lnTo>
                        <a:pt x="577" y="667"/>
                      </a:lnTo>
                      <a:lnTo>
                        <a:pt x="561" y="675"/>
                      </a:lnTo>
                      <a:lnTo>
                        <a:pt x="543" y="684"/>
                      </a:lnTo>
                      <a:lnTo>
                        <a:pt x="543" y="684"/>
                      </a:lnTo>
                      <a:lnTo>
                        <a:pt x="534" y="701"/>
                      </a:lnTo>
                      <a:lnTo>
                        <a:pt x="525" y="717"/>
                      </a:lnTo>
                      <a:lnTo>
                        <a:pt x="516" y="732"/>
                      </a:lnTo>
                      <a:lnTo>
                        <a:pt x="507" y="746"/>
                      </a:lnTo>
                      <a:lnTo>
                        <a:pt x="498" y="760"/>
                      </a:lnTo>
                      <a:lnTo>
                        <a:pt x="487" y="772"/>
                      </a:lnTo>
                      <a:lnTo>
                        <a:pt x="477" y="783"/>
                      </a:lnTo>
                      <a:lnTo>
                        <a:pt x="466" y="793"/>
                      </a:lnTo>
                      <a:lnTo>
                        <a:pt x="455" y="802"/>
                      </a:lnTo>
                      <a:lnTo>
                        <a:pt x="444" y="811"/>
                      </a:lnTo>
                      <a:lnTo>
                        <a:pt x="432" y="818"/>
                      </a:lnTo>
                      <a:lnTo>
                        <a:pt x="421" y="824"/>
                      </a:lnTo>
                      <a:lnTo>
                        <a:pt x="409" y="830"/>
                      </a:lnTo>
                      <a:lnTo>
                        <a:pt x="396" y="834"/>
                      </a:lnTo>
                      <a:lnTo>
                        <a:pt x="384" y="837"/>
                      </a:lnTo>
                      <a:lnTo>
                        <a:pt x="371" y="840"/>
                      </a:lnTo>
                      <a:lnTo>
                        <a:pt x="371" y="840"/>
                      </a:lnTo>
                      <a:lnTo>
                        <a:pt x="359" y="842"/>
                      </a:lnTo>
                      <a:lnTo>
                        <a:pt x="347" y="842"/>
                      </a:lnTo>
                      <a:lnTo>
                        <a:pt x="347" y="842"/>
                      </a:lnTo>
                      <a:close/>
                      <a:moveTo>
                        <a:pt x="99" y="85"/>
                      </a:moveTo>
                      <a:lnTo>
                        <a:pt x="99" y="85"/>
                      </a:lnTo>
                      <a:lnTo>
                        <a:pt x="93" y="102"/>
                      </a:lnTo>
                      <a:lnTo>
                        <a:pt x="88" y="119"/>
                      </a:lnTo>
                      <a:lnTo>
                        <a:pt x="83" y="138"/>
                      </a:lnTo>
                      <a:lnTo>
                        <a:pt x="78" y="157"/>
                      </a:lnTo>
                      <a:lnTo>
                        <a:pt x="75" y="175"/>
                      </a:lnTo>
                      <a:lnTo>
                        <a:pt x="72" y="195"/>
                      </a:lnTo>
                      <a:lnTo>
                        <a:pt x="68" y="235"/>
                      </a:lnTo>
                      <a:lnTo>
                        <a:pt x="66" y="276"/>
                      </a:lnTo>
                      <a:lnTo>
                        <a:pt x="66" y="317"/>
                      </a:lnTo>
                      <a:lnTo>
                        <a:pt x="68" y="358"/>
                      </a:lnTo>
                      <a:lnTo>
                        <a:pt x="72" y="399"/>
                      </a:lnTo>
                      <a:lnTo>
                        <a:pt x="78" y="439"/>
                      </a:lnTo>
                      <a:lnTo>
                        <a:pt x="87" y="477"/>
                      </a:lnTo>
                      <a:lnTo>
                        <a:pt x="96" y="515"/>
                      </a:lnTo>
                      <a:lnTo>
                        <a:pt x="107" y="550"/>
                      </a:lnTo>
                      <a:lnTo>
                        <a:pt x="120" y="582"/>
                      </a:lnTo>
                      <a:lnTo>
                        <a:pt x="126" y="597"/>
                      </a:lnTo>
                      <a:lnTo>
                        <a:pt x="133" y="612"/>
                      </a:lnTo>
                      <a:lnTo>
                        <a:pt x="142" y="625"/>
                      </a:lnTo>
                      <a:lnTo>
                        <a:pt x="149" y="638"/>
                      </a:lnTo>
                      <a:lnTo>
                        <a:pt x="157" y="649"/>
                      </a:lnTo>
                      <a:lnTo>
                        <a:pt x="165" y="661"/>
                      </a:lnTo>
                      <a:lnTo>
                        <a:pt x="165" y="661"/>
                      </a:lnTo>
                      <a:lnTo>
                        <a:pt x="179" y="675"/>
                      </a:lnTo>
                      <a:lnTo>
                        <a:pt x="191" y="688"/>
                      </a:lnTo>
                      <a:lnTo>
                        <a:pt x="205" y="701"/>
                      </a:lnTo>
                      <a:lnTo>
                        <a:pt x="217" y="713"/>
                      </a:lnTo>
                      <a:lnTo>
                        <a:pt x="231" y="724"/>
                      </a:lnTo>
                      <a:lnTo>
                        <a:pt x="243" y="734"/>
                      </a:lnTo>
                      <a:lnTo>
                        <a:pt x="256" y="742"/>
                      </a:lnTo>
                      <a:lnTo>
                        <a:pt x="269" y="751"/>
                      </a:lnTo>
                      <a:lnTo>
                        <a:pt x="281" y="757"/>
                      </a:lnTo>
                      <a:lnTo>
                        <a:pt x="294" y="763"/>
                      </a:lnTo>
                      <a:lnTo>
                        <a:pt x="305" y="767"/>
                      </a:lnTo>
                      <a:lnTo>
                        <a:pt x="317" y="771"/>
                      </a:lnTo>
                      <a:lnTo>
                        <a:pt x="329" y="773"/>
                      </a:lnTo>
                      <a:lnTo>
                        <a:pt x="340" y="775"/>
                      </a:lnTo>
                      <a:lnTo>
                        <a:pt x="351" y="775"/>
                      </a:lnTo>
                      <a:lnTo>
                        <a:pt x="362" y="774"/>
                      </a:lnTo>
                      <a:lnTo>
                        <a:pt x="362" y="774"/>
                      </a:lnTo>
                      <a:lnTo>
                        <a:pt x="370" y="772"/>
                      </a:lnTo>
                      <a:lnTo>
                        <a:pt x="380" y="770"/>
                      </a:lnTo>
                      <a:lnTo>
                        <a:pt x="388" y="767"/>
                      </a:lnTo>
                      <a:lnTo>
                        <a:pt x="397" y="762"/>
                      </a:lnTo>
                      <a:lnTo>
                        <a:pt x="405" y="758"/>
                      </a:lnTo>
                      <a:lnTo>
                        <a:pt x="414" y="752"/>
                      </a:lnTo>
                      <a:lnTo>
                        <a:pt x="422" y="744"/>
                      </a:lnTo>
                      <a:lnTo>
                        <a:pt x="429" y="737"/>
                      </a:lnTo>
                      <a:lnTo>
                        <a:pt x="438" y="729"/>
                      </a:lnTo>
                      <a:lnTo>
                        <a:pt x="445" y="718"/>
                      </a:lnTo>
                      <a:lnTo>
                        <a:pt x="460" y="698"/>
                      </a:lnTo>
                      <a:lnTo>
                        <a:pt x="474" y="673"/>
                      </a:lnTo>
                      <a:lnTo>
                        <a:pt x="488" y="645"/>
                      </a:lnTo>
                      <a:lnTo>
                        <a:pt x="488" y="645"/>
                      </a:lnTo>
                      <a:lnTo>
                        <a:pt x="490" y="640"/>
                      </a:lnTo>
                      <a:lnTo>
                        <a:pt x="494" y="636"/>
                      </a:lnTo>
                      <a:lnTo>
                        <a:pt x="500" y="632"/>
                      </a:lnTo>
                      <a:lnTo>
                        <a:pt x="505" y="628"/>
                      </a:lnTo>
                      <a:lnTo>
                        <a:pt x="505" y="628"/>
                      </a:lnTo>
                      <a:lnTo>
                        <a:pt x="535" y="615"/>
                      </a:lnTo>
                      <a:lnTo>
                        <a:pt x="561" y="599"/>
                      </a:lnTo>
                      <a:lnTo>
                        <a:pt x="583" y="584"/>
                      </a:lnTo>
                      <a:lnTo>
                        <a:pt x="594" y="577"/>
                      </a:lnTo>
                      <a:lnTo>
                        <a:pt x="603" y="568"/>
                      </a:lnTo>
                      <a:lnTo>
                        <a:pt x="612" y="560"/>
                      </a:lnTo>
                      <a:lnTo>
                        <a:pt x="620" y="551"/>
                      </a:lnTo>
                      <a:lnTo>
                        <a:pt x="627" y="543"/>
                      </a:lnTo>
                      <a:lnTo>
                        <a:pt x="633" y="533"/>
                      </a:lnTo>
                      <a:lnTo>
                        <a:pt x="638" y="525"/>
                      </a:lnTo>
                      <a:lnTo>
                        <a:pt x="642" y="516"/>
                      </a:lnTo>
                      <a:lnTo>
                        <a:pt x="646" y="506"/>
                      </a:lnTo>
                      <a:lnTo>
                        <a:pt x="649" y="497"/>
                      </a:lnTo>
                      <a:lnTo>
                        <a:pt x="649" y="497"/>
                      </a:lnTo>
                      <a:lnTo>
                        <a:pt x="651" y="485"/>
                      </a:lnTo>
                      <a:lnTo>
                        <a:pt x="652" y="472"/>
                      </a:lnTo>
                      <a:lnTo>
                        <a:pt x="651" y="460"/>
                      </a:lnTo>
                      <a:lnTo>
                        <a:pt x="650" y="447"/>
                      </a:lnTo>
                      <a:lnTo>
                        <a:pt x="647" y="435"/>
                      </a:lnTo>
                      <a:lnTo>
                        <a:pt x="643" y="423"/>
                      </a:lnTo>
                      <a:lnTo>
                        <a:pt x="638" y="410"/>
                      </a:lnTo>
                      <a:lnTo>
                        <a:pt x="633" y="398"/>
                      </a:lnTo>
                      <a:lnTo>
                        <a:pt x="628" y="386"/>
                      </a:lnTo>
                      <a:lnTo>
                        <a:pt x="622" y="374"/>
                      </a:lnTo>
                      <a:lnTo>
                        <a:pt x="607" y="352"/>
                      </a:lnTo>
                      <a:lnTo>
                        <a:pt x="592" y="330"/>
                      </a:lnTo>
                      <a:lnTo>
                        <a:pt x="576" y="312"/>
                      </a:lnTo>
                      <a:lnTo>
                        <a:pt x="576" y="312"/>
                      </a:lnTo>
                      <a:lnTo>
                        <a:pt x="576" y="312"/>
                      </a:lnTo>
                      <a:lnTo>
                        <a:pt x="566" y="299"/>
                      </a:lnTo>
                      <a:lnTo>
                        <a:pt x="554" y="289"/>
                      </a:lnTo>
                      <a:lnTo>
                        <a:pt x="542" y="279"/>
                      </a:lnTo>
                      <a:lnTo>
                        <a:pt x="530" y="269"/>
                      </a:lnTo>
                      <a:lnTo>
                        <a:pt x="517" y="260"/>
                      </a:lnTo>
                      <a:lnTo>
                        <a:pt x="504" y="252"/>
                      </a:lnTo>
                      <a:lnTo>
                        <a:pt x="489" y="245"/>
                      </a:lnTo>
                      <a:lnTo>
                        <a:pt x="475" y="237"/>
                      </a:lnTo>
                      <a:lnTo>
                        <a:pt x="445" y="225"/>
                      </a:lnTo>
                      <a:lnTo>
                        <a:pt x="414" y="214"/>
                      </a:lnTo>
                      <a:lnTo>
                        <a:pt x="381" y="203"/>
                      </a:lnTo>
                      <a:lnTo>
                        <a:pt x="346" y="193"/>
                      </a:lnTo>
                      <a:lnTo>
                        <a:pt x="346" y="193"/>
                      </a:lnTo>
                      <a:lnTo>
                        <a:pt x="286" y="174"/>
                      </a:lnTo>
                      <a:lnTo>
                        <a:pt x="255" y="164"/>
                      </a:lnTo>
                      <a:lnTo>
                        <a:pt x="224" y="151"/>
                      </a:lnTo>
                      <a:lnTo>
                        <a:pt x="192" y="138"/>
                      </a:lnTo>
                      <a:lnTo>
                        <a:pt x="161" y="124"/>
                      </a:lnTo>
                      <a:lnTo>
                        <a:pt x="130" y="106"/>
                      </a:lnTo>
                      <a:lnTo>
                        <a:pt x="115" y="96"/>
                      </a:lnTo>
                      <a:lnTo>
                        <a:pt x="99" y="85"/>
                      </a:lnTo>
                      <a:lnTo>
                        <a:pt x="99" y="85"/>
                      </a:lnTo>
                      <a:close/>
                    </a:path>
                  </a:pathLst>
                </a:custGeom>
                <a:solidFill>
                  <a:srgbClr val="01010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49" name="Freeform 121">
                  <a:extLst>
                    <a:ext uri="{FF2B5EF4-FFF2-40B4-BE49-F238E27FC236}">
                      <a16:creationId xmlns:a16="http://schemas.microsoft.com/office/drawing/2014/main" id="{D1E754C6-7BF5-47EC-83F0-39B8DE9559D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510588" y="1887538"/>
                  <a:ext cx="200025" cy="192088"/>
                </a:xfrm>
                <a:custGeom>
                  <a:avLst/>
                  <a:gdLst>
                    <a:gd name="T0" fmla="*/ 504 w 879"/>
                    <a:gd name="T1" fmla="*/ 849 h 849"/>
                    <a:gd name="T2" fmla="*/ 493 w 879"/>
                    <a:gd name="T3" fmla="*/ 847 h 849"/>
                    <a:gd name="T4" fmla="*/ 481 w 879"/>
                    <a:gd name="T5" fmla="*/ 838 h 849"/>
                    <a:gd name="T6" fmla="*/ 475 w 879"/>
                    <a:gd name="T7" fmla="*/ 823 h 849"/>
                    <a:gd name="T8" fmla="*/ 462 w 879"/>
                    <a:gd name="T9" fmla="*/ 780 h 849"/>
                    <a:gd name="T10" fmla="*/ 424 w 879"/>
                    <a:gd name="T11" fmla="*/ 666 h 849"/>
                    <a:gd name="T12" fmla="*/ 365 w 879"/>
                    <a:gd name="T13" fmla="*/ 533 h 849"/>
                    <a:gd name="T14" fmla="*/ 317 w 879"/>
                    <a:gd name="T15" fmla="*/ 443 h 849"/>
                    <a:gd name="T16" fmla="*/ 259 w 879"/>
                    <a:gd name="T17" fmla="*/ 348 h 849"/>
                    <a:gd name="T18" fmla="*/ 189 w 879"/>
                    <a:gd name="T19" fmla="*/ 250 h 849"/>
                    <a:gd name="T20" fmla="*/ 106 w 879"/>
                    <a:gd name="T21" fmla="*/ 153 h 849"/>
                    <a:gd name="T22" fmla="*/ 11 w 879"/>
                    <a:gd name="T23" fmla="*/ 57 h 849"/>
                    <a:gd name="T24" fmla="*/ 3 w 879"/>
                    <a:gd name="T25" fmla="*/ 47 h 849"/>
                    <a:gd name="T26" fmla="*/ 0 w 879"/>
                    <a:gd name="T27" fmla="*/ 28 h 849"/>
                    <a:gd name="T28" fmla="*/ 8 w 879"/>
                    <a:gd name="T29" fmla="*/ 11 h 849"/>
                    <a:gd name="T30" fmla="*/ 19 w 879"/>
                    <a:gd name="T31" fmla="*/ 4 h 849"/>
                    <a:gd name="T32" fmla="*/ 38 w 879"/>
                    <a:gd name="T33" fmla="*/ 0 h 849"/>
                    <a:gd name="T34" fmla="*/ 56 w 879"/>
                    <a:gd name="T35" fmla="*/ 9 h 849"/>
                    <a:gd name="T36" fmla="*/ 106 w 879"/>
                    <a:gd name="T37" fmla="*/ 56 h 849"/>
                    <a:gd name="T38" fmla="*/ 177 w 879"/>
                    <a:gd name="T39" fmla="*/ 131 h 849"/>
                    <a:gd name="T40" fmla="*/ 240 w 879"/>
                    <a:gd name="T41" fmla="*/ 206 h 849"/>
                    <a:gd name="T42" fmla="*/ 343 w 879"/>
                    <a:gd name="T43" fmla="*/ 355 h 849"/>
                    <a:gd name="T44" fmla="*/ 422 w 879"/>
                    <a:gd name="T45" fmla="*/ 497 h 849"/>
                    <a:gd name="T46" fmla="*/ 478 w 879"/>
                    <a:gd name="T47" fmla="*/ 621 h 849"/>
                    <a:gd name="T48" fmla="*/ 514 w 879"/>
                    <a:gd name="T49" fmla="*/ 721 h 849"/>
                    <a:gd name="T50" fmla="*/ 549 w 879"/>
                    <a:gd name="T51" fmla="*/ 657 h 849"/>
                    <a:gd name="T52" fmla="*/ 595 w 879"/>
                    <a:gd name="T53" fmla="*/ 586 h 849"/>
                    <a:gd name="T54" fmla="*/ 653 w 879"/>
                    <a:gd name="T55" fmla="*/ 514 h 849"/>
                    <a:gd name="T56" fmla="*/ 722 w 879"/>
                    <a:gd name="T57" fmla="*/ 445 h 849"/>
                    <a:gd name="T58" fmla="*/ 803 w 879"/>
                    <a:gd name="T59" fmla="*/ 387 h 849"/>
                    <a:gd name="T60" fmla="*/ 838 w 879"/>
                    <a:gd name="T61" fmla="*/ 369 h 849"/>
                    <a:gd name="T62" fmla="*/ 858 w 879"/>
                    <a:gd name="T63" fmla="*/ 369 h 849"/>
                    <a:gd name="T64" fmla="*/ 873 w 879"/>
                    <a:gd name="T65" fmla="*/ 380 h 849"/>
                    <a:gd name="T66" fmla="*/ 878 w 879"/>
                    <a:gd name="T67" fmla="*/ 392 h 849"/>
                    <a:gd name="T68" fmla="*/ 878 w 879"/>
                    <a:gd name="T69" fmla="*/ 411 h 849"/>
                    <a:gd name="T70" fmla="*/ 867 w 879"/>
                    <a:gd name="T71" fmla="*/ 427 h 849"/>
                    <a:gd name="T72" fmla="*/ 842 w 879"/>
                    <a:gd name="T73" fmla="*/ 440 h 849"/>
                    <a:gd name="T74" fmla="*/ 786 w 879"/>
                    <a:gd name="T75" fmla="*/ 477 h 849"/>
                    <a:gd name="T76" fmla="*/ 737 w 879"/>
                    <a:gd name="T77" fmla="*/ 521 h 849"/>
                    <a:gd name="T78" fmla="*/ 692 w 879"/>
                    <a:gd name="T79" fmla="*/ 569 h 849"/>
                    <a:gd name="T80" fmla="*/ 621 w 879"/>
                    <a:gd name="T81" fmla="*/ 668 h 849"/>
                    <a:gd name="T82" fmla="*/ 570 w 879"/>
                    <a:gd name="T83" fmla="*/ 756 h 849"/>
                    <a:gd name="T84" fmla="*/ 538 w 879"/>
                    <a:gd name="T85" fmla="*/ 828 h 849"/>
                    <a:gd name="T86" fmla="*/ 533 w 879"/>
                    <a:gd name="T87" fmla="*/ 836 h 849"/>
                    <a:gd name="T88" fmla="*/ 521 w 879"/>
                    <a:gd name="T89" fmla="*/ 846 h 849"/>
                    <a:gd name="T90" fmla="*/ 507 w 879"/>
                    <a:gd name="T91" fmla="*/ 849 h 84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</a:cxnLst>
                  <a:rect l="0" t="0" r="r" b="b"/>
                  <a:pathLst>
                    <a:path w="879" h="849">
                      <a:moveTo>
                        <a:pt x="507" y="849"/>
                      </a:moveTo>
                      <a:lnTo>
                        <a:pt x="507" y="849"/>
                      </a:lnTo>
                      <a:lnTo>
                        <a:pt x="504" y="849"/>
                      </a:lnTo>
                      <a:lnTo>
                        <a:pt x="504" y="849"/>
                      </a:lnTo>
                      <a:lnTo>
                        <a:pt x="499" y="849"/>
                      </a:lnTo>
                      <a:lnTo>
                        <a:pt x="493" y="847"/>
                      </a:lnTo>
                      <a:lnTo>
                        <a:pt x="489" y="845"/>
                      </a:lnTo>
                      <a:lnTo>
                        <a:pt x="485" y="842"/>
                      </a:lnTo>
                      <a:lnTo>
                        <a:pt x="481" y="838"/>
                      </a:lnTo>
                      <a:lnTo>
                        <a:pt x="478" y="833"/>
                      </a:lnTo>
                      <a:lnTo>
                        <a:pt x="476" y="828"/>
                      </a:lnTo>
                      <a:lnTo>
                        <a:pt x="475" y="823"/>
                      </a:lnTo>
                      <a:lnTo>
                        <a:pt x="475" y="823"/>
                      </a:lnTo>
                      <a:lnTo>
                        <a:pt x="470" y="802"/>
                      </a:lnTo>
                      <a:lnTo>
                        <a:pt x="462" y="780"/>
                      </a:lnTo>
                      <a:lnTo>
                        <a:pt x="453" y="748"/>
                      </a:lnTo>
                      <a:lnTo>
                        <a:pt x="440" y="710"/>
                      </a:lnTo>
                      <a:lnTo>
                        <a:pt x="424" y="666"/>
                      </a:lnTo>
                      <a:lnTo>
                        <a:pt x="403" y="616"/>
                      </a:lnTo>
                      <a:lnTo>
                        <a:pt x="380" y="562"/>
                      </a:lnTo>
                      <a:lnTo>
                        <a:pt x="365" y="533"/>
                      </a:lnTo>
                      <a:lnTo>
                        <a:pt x="351" y="504"/>
                      </a:lnTo>
                      <a:lnTo>
                        <a:pt x="335" y="474"/>
                      </a:lnTo>
                      <a:lnTo>
                        <a:pt x="317" y="443"/>
                      </a:lnTo>
                      <a:lnTo>
                        <a:pt x="300" y="411"/>
                      </a:lnTo>
                      <a:lnTo>
                        <a:pt x="280" y="380"/>
                      </a:lnTo>
                      <a:lnTo>
                        <a:pt x="259" y="348"/>
                      </a:lnTo>
                      <a:lnTo>
                        <a:pt x="237" y="315"/>
                      </a:lnTo>
                      <a:lnTo>
                        <a:pt x="214" y="283"/>
                      </a:lnTo>
                      <a:lnTo>
                        <a:pt x="189" y="250"/>
                      </a:lnTo>
                      <a:lnTo>
                        <a:pt x="163" y="217"/>
                      </a:lnTo>
                      <a:lnTo>
                        <a:pt x="135" y="185"/>
                      </a:lnTo>
                      <a:lnTo>
                        <a:pt x="106" y="153"/>
                      </a:lnTo>
                      <a:lnTo>
                        <a:pt x="76" y="120"/>
                      </a:lnTo>
                      <a:lnTo>
                        <a:pt x="44" y="88"/>
                      </a:lnTo>
                      <a:lnTo>
                        <a:pt x="11" y="57"/>
                      </a:lnTo>
                      <a:lnTo>
                        <a:pt x="11" y="57"/>
                      </a:lnTo>
                      <a:lnTo>
                        <a:pt x="6" y="52"/>
                      </a:lnTo>
                      <a:lnTo>
                        <a:pt x="3" y="47"/>
                      </a:lnTo>
                      <a:lnTo>
                        <a:pt x="1" y="41"/>
                      </a:lnTo>
                      <a:lnTo>
                        <a:pt x="0" y="35"/>
                      </a:lnTo>
                      <a:lnTo>
                        <a:pt x="0" y="28"/>
                      </a:lnTo>
                      <a:lnTo>
                        <a:pt x="2" y="22"/>
                      </a:lnTo>
                      <a:lnTo>
                        <a:pt x="5" y="16"/>
                      </a:lnTo>
                      <a:lnTo>
                        <a:pt x="8" y="11"/>
                      </a:lnTo>
                      <a:lnTo>
                        <a:pt x="8" y="11"/>
                      </a:lnTo>
                      <a:lnTo>
                        <a:pt x="13" y="7"/>
                      </a:lnTo>
                      <a:lnTo>
                        <a:pt x="19" y="4"/>
                      </a:lnTo>
                      <a:lnTo>
                        <a:pt x="25" y="0"/>
                      </a:lnTo>
                      <a:lnTo>
                        <a:pt x="32" y="0"/>
                      </a:lnTo>
                      <a:lnTo>
                        <a:pt x="38" y="0"/>
                      </a:lnTo>
                      <a:lnTo>
                        <a:pt x="44" y="1"/>
                      </a:lnTo>
                      <a:lnTo>
                        <a:pt x="49" y="5"/>
                      </a:lnTo>
                      <a:lnTo>
                        <a:pt x="56" y="9"/>
                      </a:lnTo>
                      <a:lnTo>
                        <a:pt x="56" y="9"/>
                      </a:lnTo>
                      <a:lnTo>
                        <a:pt x="81" y="33"/>
                      </a:lnTo>
                      <a:lnTo>
                        <a:pt x="106" y="56"/>
                      </a:lnTo>
                      <a:lnTo>
                        <a:pt x="131" y="81"/>
                      </a:lnTo>
                      <a:lnTo>
                        <a:pt x="154" y="106"/>
                      </a:lnTo>
                      <a:lnTo>
                        <a:pt x="177" y="131"/>
                      </a:lnTo>
                      <a:lnTo>
                        <a:pt x="198" y="156"/>
                      </a:lnTo>
                      <a:lnTo>
                        <a:pt x="219" y="182"/>
                      </a:lnTo>
                      <a:lnTo>
                        <a:pt x="240" y="206"/>
                      </a:lnTo>
                      <a:lnTo>
                        <a:pt x="277" y="256"/>
                      </a:lnTo>
                      <a:lnTo>
                        <a:pt x="312" y="307"/>
                      </a:lnTo>
                      <a:lnTo>
                        <a:pt x="343" y="355"/>
                      </a:lnTo>
                      <a:lnTo>
                        <a:pt x="372" y="404"/>
                      </a:lnTo>
                      <a:lnTo>
                        <a:pt x="399" y="452"/>
                      </a:lnTo>
                      <a:lnTo>
                        <a:pt x="422" y="497"/>
                      </a:lnTo>
                      <a:lnTo>
                        <a:pt x="443" y="541"/>
                      </a:lnTo>
                      <a:lnTo>
                        <a:pt x="461" y="582"/>
                      </a:lnTo>
                      <a:lnTo>
                        <a:pt x="478" y="621"/>
                      </a:lnTo>
                      <a:lnTo>
                        <a:pt x="492" y="657"/>
                      </a:lnTo>
                      <a:lnTo>
                        <a:pt x="504" y="691"/>
                      </a:lnTo>
                      <a:lnTo>
                        <a:pt x="514" y="721"/>
                      </a:lnTo>
                      <a:lnTo>
                        <a:pt x="514" y="721"/>
                      </a:lnTo>
                      <a:lnTo>
                        <a:pt x="536" y="679"/>
                      </a:lnTo>
                      <a:lnTo>
                        <a:pt x="549" y="657"/>
                      </a:lnTo>
                      <a:lnTo>
                        <a:pt x="563" y="634"/>
                      </a:lnTo>
                      <a:lnTo>
                        <a:pt x="578" y="610"/>
                      </a:lnTo>
                      <a:lnTo>
                        <a:pt x="595" y="586"/>
                      </a:lnTo>
                      <a:lnTo>
                        <a:pt x="612" y="562"/>
                      </a:lnTo>
                      <a:lnTo>
                        <a:pt x="632" y="537"/>
                      </a:lnTo>
                      <a:lnTo>
                        <a:pt x="653" y="514"/>
                      </a:lnTo>
                      <a:lnTo>
                        <a:pt x="674" y="490"/>
                      </a:lnTo>
                      <a:lnTo>
                        <a:pt x="697" y="467"/>
                      </a:lnTo>
                      <a:lnTo>
                        <a:pt x="722" y="445"/>
                      </a:lnTo>
                      <a:lnTo>
                        <a:pt x="747" y="425"/>
                      </a:lnTo>
                      <a:lnTo>
                        <a:pt x="774" y="405"/>
                      </a:lnTo>
                      <a:lnTo>
                        <a:pt x="803" y="387"/>
                      </a:lnTo>
                      <a:lnTo>
                        <a:pt x="832" y="371"/>
                      </a:lnTo>
                      <a:lnTo>
                        <a:pt x="832" y="371"/>
                      </a:lnTo>
                      <a:lnTo>
                        <a:pt x="838" y="369"/>
                      </a:lnTo>
                      <a:lnTo>
                        <a:pt x="845" y="368"/>
                      </a:lnTo>
                      <a:lnTo>
                        <a:pt x="851" y="368"/>
                      </a:lnTo>
                      <a:lnTo>
                        <a:pt x="858" y="369"/>
                      </a:lnTo>
                      <a:lnTo>
                        <a:pt x="863" y="372"/>
                      </a:lnTo>
                      <a:lnTo>
                        <a:pt x="868" y="375"/>
                      </a:lnTo>
                      <a:lnTo>
                        <a:pt x="873" y="380"/>
                      </a:lnTo>
                      <a:lnTo>
                        <a:pt x="876" y="385"/>
                      </a:lnTo>
                      <a:lnTo>
                        <a:pt x="876" y="385"/>
                      </a:lnTo>
                      <a:lnTo>
                        <a:pt x="878" y="392"/>
                      </a:lnTo>
                      <a:lnTo>
                        <a:pt x="879" y="399"/>
                      </a:lnTo>
                      <a:lnTo>
                        <a:pt x="879" y="405"/>
                      </a:lnTo>
                      <a:lnTo>
                        <a:pt x="878" y="411"/>
                      </a:lnTo>
                      <a:lnTo>
                        <a:pt x="875" y="416"/>
                      </a:lnTo>
                      <a:lnTo>
                        <a:pt x="872" y="422"/>
                      </a:lnTo>
                      <a:lnTo>
                        <a:pt x="867" y="427"/>
                      </a:lnTo>
                      <a:lnTo>
                        <a:pt x="862" y="430"/>
                      </a:lnTo>
                      <a:lnTo>
                        <a:pt x="862" y="430"/>
                      </a:lnTo>
                      <a:lnTo>
                        <a:pt x="842" y="440"/>
                      </a:lnTo>
                      <a:lnTo>
                        <a:pt x="822" y="452"/>
                      </a:lnTo>
                      <a:lnTo>
                        <a:pt x="805" y="464"/>
                      </a:lnTo>
                      <a:lnTo>
                        <a:pt x="786" y="477"/>
                      </a:lnTo>
                      <a:lnTo>
                        <a:pt x="770" y="492"/>
                      </a:lnTo>
                      <a:lnTo>
                        <a:pt x="753" y="506"/>
                      </a:lnTo>
                      <a:lnTo>
                        <a:pt x="737" y="521"/>
                      </a:lnTo>
                      <a:lnTo>
                        <a:pt x="721" y="536"/>
                      </a:lnTo>
                      <a:lnTo>
                        <a:pt x="707" y="553"/>
                      </a:lnTo>
                      <a:lnTo>
                        <a:pt x="692" y="569"/>
                      </a:lnTo>
                      <a:lnTo>
                        <a:pt x="666" y="602"/>
                      </a:lnTo>
                      <a:lnTo>
                        <a:pt x="641" y="635"/>
                      </a:lnTo>
                      <a:lnTo>
                        <a:pt x="621" y="668"/>
                      </a:lnTo>
                      <a:lnTo>
                        <a:pt x="601" y="699"/>
                      </a:lnTo>
                      <a:lnTo>
                        <a:pt x="584" y="729"/>
                      </a:lnTo>
                      <a:lnTo>
                        <a:pt x="570" y="756"/>
                      </a:lnTo>
                      <a:lnTo>
                        <a:pt x="559" y="780"/>
                      </a:lnTo>
                      <a:lnTo>
                        <a:pt x="543" y="815"/>
                      </a:lnTo>
                      <a:lnTo>
                        <a:pt x="538" y="828"/>
                      </a:lnTo>
                      <a:lnTo>
                        <a:pt x="538" y="828"/>
                      </a:lnTo>
                      <a:lnTo>
                        <a:pt x="536" y="832"/>
                      </a:lnTo>
                      <a:lnTo>
                        <a:pt x="533" y="836"/>
                      </a:lnTo>
                      <a:lnTo>
                        <a:pt x="530" y="841"/>
                      </a:lnTo>
                      <a:lnTo>
                        <a:pt x="525" y="844"/>
                      </a:lnTo>
                      <a:lnTo>
                        <a:pt x="521" y="846"/>
                      </a:lnTo>
                      <a:lnTo>
                        <a:pt x="516" y="848"/>
                      </a:lnTo>
                      <a:lnTo>
                        <a:pt x="512" y="849"/>
                      </a:lnTo>
                      <a:lnTo>
                        <a:pt x="507" y="849"/>
                      </a:lnTo>
                      <a:lnTo>
                        <a:pt x="507" y="849"/>
                      </a:lnTo>
                      <a:close/>
                    </a:path>
                  </a:pathLst>
                </a:custGeom>
                <a:solidFill>
                  <a:srgbClr val="01010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</p:grpSp>
        </p:grpSp>
        <p:grpSp>
          <p:nvGrpSpPr>
            <p:cNvPr id="71" name="Group 70">
              <a:extLst>
                <a:ext uri="{FF2B5EF4-FFF2-40B4-BE49-F238E27FC236}">
                  <a16:creationId xmlns:a16="http://schemas.microsoft.com/office/drawing/2014/main" id="{95913E24-2376-4C9F-B666-084D9C2C4F39}"/>
                </a:ext>
              </a:extLst>
            </p:cNvPr>
            <p:cNvGrpSpPr/>
            <p:nvPr/>
          </p:nvGrpSpPr>
          <p:grpSpPr>
            <a:xfrm>
              <a:off x="6686340" y="698457"/>
              <a:ext cx="3907918" cy="2402730"/>
              <a:chOff x="6686340" y="698457"/>
              <a:chExt cx="3907918" cy="2402730"/>
            </a:xfrm>
          </p:grpSpPr>
          <p:sp>
            <p:nvSpPr>
              <p:cNvPr id="61" name="Rectangle: Rounded Corners 60">
                <a:extLst>
                  <a:ext uri="{FF2B5EF4-FFF2-40B4-BE49-F238E27FC236}">
                    <a16:creationId xmlns:a16="http://schemas.microsoft.com/office/drawing/2014/main" id="{FAE8763B-D1F7-4127-AF2F-365B1C56CFEF}"/>
                  </a:ext>
                </a:extLst>
              </p:cNvPr>
              <p:cNvSpPr/>
              <p:nvPr/>
            </p:nvSpPr>
            <p:spPr>
              <a:xfrm>
                <a:off x="6686340" y="1031120"/>
                <a:ext cx="3907918" cy="2070067"/>
              </a:xfrm>
              <a:prstGeom prst="roundRect">
                <a:avLst>
                  <a:gd name="adj" fmla="val 5830"/>
                </a:avLst>
              </a:prstGeom>
              <a:solidFill>
                <a:schemeClr val="accent1">
                  <a:lumMod val="20000"/>
                  <a:lumOff val="8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D"/>
              </a:p>
            </p:txBody>
          </p:sp>
          <p:sp>
            <p:nvSpPr>
              <p:cNvPr id="62" name="Rectangle: Rounded Corners 61">
                <a:extLst>
                  <a:ext uri="{FF2B5EF4-FFF2-40B4-BE49-F238E27FC236}">
                    <a16:creationId xmlns:a16="http://schemas.microsoft.com/office/drawing/2014/main" id="{EB17FB32-78C1-4BCF-907B-5471F30DE5EC}"/>
                  </a:ext>
                </a:extLst>
              </p:cNvPr>
              <p:cNvSpPr/>
              <p:nvPr/>
            </p:nvSpPr>
            <p:spPr>
              <a:xfrm>
                <a:off x="6968657" y="698457"/>
                <a:ext cx="665326" cy="665326"/>
              </a:xfrm>
              <a:prstGeom prst="roundRect">
                <a:avLst>
                  <a:gd name="adj" fmla="val 10785"/>
                </a:avLst>
              </a:prstGeom>
              <a:solidFill>
                <a:schemeClr val="bg1"/>
              </a:solidFill>
              <a:ln>
                <a:noFill/>
              </a:ln>
              <a:effectLst>
                <a:outerShdw blurRad="177800" dist="152400" dir="5400000" algn="t" rotWithShape="0">
                  <a:prstClr val="black">
                    <a:alpha val="8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grpSp>
            <p:nvGrpSpPr>
              <p:cNvPr id="63" name="Group 62">
                <a:extLst>
                  <a:ext uri="{FF2B5EF4-FFF2-40B4-BE49-F238E27FC236}">
                    <a16:creationId xmlns:a16="http://schemas.microsoft.com/office/drawing/2014/main" id="{E870D5DD-ABA8-4F9F-A893-C801A941BB9E}"/>
                  </a:ext>
                </a:extLst>
              </p:cNvPr>
              <p:cNvGrpSpPr/>
              <p:nvPr/>
            </p:nvGrpSpPr>
            <p:grpSpPr>
              <a:xfrm>
                <a:off x="6967796" y="1643817"/>
                <a:ext cx="3314119" cy="975443"/>
                <a:chOff x="1694985" y="4094325"/>
                <a:chExt cx="3314119" cy="975443"/>
              </a:xfrm>
            </p:grpSpPr>
            <p:sp>
              <p:nvSpPr>
                <p:cNvPr id="69" name="TextBox 68">
                  <a:extLst>
                    <a:ext uri="{FF2B5EF4-FFF2-40B4-BE49-F238E27FC236}">
                      <a16:creationId xmlns:a16="http://schemas.microsoft.com/office/drawing/2014/main" id="{0DF03256-45DE-4734-8953-5D16C754F01C}"/>
                    </a:ext>
                  </a:extLst>
                </p:cNvPr>
                <p:cNvSpPr txBox="1"/>
                <p:nvPr/>
              </p:nvSpPr>
              <p:spPr>
                <a:xfrm>
                  <a:off x="1694985" y="4515770"/>
                  <a:ext cx="3314118" cy="553998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spAutoFit/>
                </a:bodyPr>
                <a:lstStyle/>
                <a:p>
                  <a:r>
                    <a:rPr lang="en-US" sz="1200" dirty="0" smtClean="0">
                      <a:solidFill>
                        <a:schemeClr val="bg2">
                          <a:lumMod val="50000"/>
                        </a:schemeClr>
                      </a:solidFill>
                    </a:rPr>
                    <a:t>Support for multiple types of network such as CNN, RNN and LSTMs can be added my making modifications to the current layout</a:t>
                  </a:r>
                  <a:endParaRPr lang="en-US" sz="1200" dirty="0">
                    <a:solidFill>
                      <a:schemeClr val="bg2">
                        <a:lumMod val="50000"/>
                      </a:schemeClr>
                    </a:solidFill>
                  </a:endParaRPr>
                </a:p>
              </p:txBody>
            </p:sp>
            <p:sp>
              <p:nvSpPr>
                <p:cNvPr id="70" name="TextBox 69">
                  <a:extLst>
                    <a:ext uri="{FF2B5EF4-FFF2-40B4-BE49-F238E27FC236}">
                      <a16:creationId xmlns:a16="http://schemas.microsoft.com/office/drawing/2014/main" id="{AC93C14F-1AE9-4E95-92DA-082C3345DB2E}"/>
                    </a:ext>
                  </a:extLst>
                </p:cNvPr>
                <p:cNvSpPr txBox="1"/>
                <p:nvPr/>
              </p:nvSpPr>
              <p:spPr>
                <a:xfrm>
                  <a:off x="1694986" y="4094325"/>
                  <a:ext cx="3314118" cy="276999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spAutoFit/>
                </a:bodyPr>
                <a:lstStyle/>
                <a:p>
                  <a:r>
                    <a:rPr lang="en-US" b="1" dirty="0">
                      <a:solidFill>
                        <a:schemeClr val="bg2">
                          <a:lumMod val="25000"/>
                        </a:schemeClr>
                      </a:solidFill>
                    </a:rPr>
                    <a:t>S</a:t>
                  </a:r>
                  <a:r>
                    <a:rPr lang="en-US" b="1" dirty="0" smtClean="0">
                      <a:solidFill>
                        <a:schemeClr val="bg2">
                          <a:lumMod val="25000"/>
                        </a:schemeClr>
                      </a:solidFill>
                    </a:rPr>
                    <a:t>upport for different networks</a:t>
                  </a:r>
                  <a:endParaRPr lang="en-US" b="1" dirty="0">
                    <a:solidFill>
                      <a:schemeClr val="bg2">
                        <a:lumMod val="25000"/>
                      </a:schemeClr>
                    </a:solidFill>
                  </a:endParaRPr>
                </a:p>
              </p:txBody>
            </p:sp>
          </p:grpSp>
          <p:grpSp>
            <p:nvGrpSpPr>
              <p:cNvPr id="39" name="Group 38">
                <a:extLst>
                  <a:ext uri="{FF2B5EF4-FFF2-40B4-BE49-F238E27FC236}">
                    <a16:creationId xmlns:a16="http://schemas.microsoft.com/office/drawing/2014/main" id="{3CCA4EA8-D5E1-4646-9921-BEA6455BD73F}"/>
                  </a:ext>
                </a:extLst>
              </p:cNvPr>
              <p:cNvGrpSpPr/>
              <p:nvPr/>
            </p:nvGrpSpPr>
            <p:grpSpPr>
              <a:xfrm>
                <a:off x="7137808" y="867608"/>
                <a:ext cx="327025" cy="327025"/>
                <a:chOff x="4125913" y="2552700"/>
                <a:chExt cx="327025" cy="327025"/>
              </a:xfrm>
            </p:grpSpPr>
            <p:sp>
              <p:nvSpPr>
                <p:cNvPr id="40" name="Freeform 5">
                  <a:extLst>
                    <a:ext uri="{FF2B5EF4-FFF2-40B4-BE49-F238E27FC236}">
                      <a16:creationId xmlns:a16="http://schemas.microsoft.com/office/drawing/2014/main" id="{62060247-0D5E-4BB6-9242-6E704B8A23D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146550" y="2663825"/>
                  <a:ext cx="193675" cy="195263"/>
                </a:xfrm>
                <a:custGeom>
                  <a:avLst/>
                  <a:gdLst>
                    <a:gd name="T0" fmla="*/ 33 w 860"/>
                    <a:gd name="T1" fmla="*/ 860 h 860"/>
                    <a:gd name="T2" fmla="*/ 33 w 860"/>
                    <a:gd name="T3" fmla="*/ 860 h 860"/>
                    <a:gd name="T4" fmla="*/ 27 w 860"/>
                    <a:gd name="T5" fmla="*/ 859 h 860"/>
                    <a:gd name="T6" fmla="*/ 21 w 860"/>
                    <a:gd name="T7" fmla="*/ 857 h 860"/>
                    <a:gd name="T8" fmla="*/ 16 w 860"/>
                    <a:gd name="T9" fmla="*/ 854 h 860"/>
                    <a:gd name="T10" fmla="*/ 11 w 860"/>
                    <a:gd name="T11" fmla="*/ 850 h 860"/>
                    <a:gd name="T12" fmla="*/ 11 w 860"/>
                    <a:gd name="T13" fmla="*/ 850 h 860"/>
                    <a:gd name="T14" fmla="*/ 5 w 860"/>
                    <a:gd name="T15" fmla="*/ 845 h 860"/>
                    <a:gd name="T16" fmla="*/ 3 w 860"/>
                    <a:gd name="T17" fmla="*/ 840 h 860"/>
                    <a:gd name="T18" fmla="*/ 1 w 860"/>
                    <a:gd name="T19" fmla="*/ 833 h 860"/>
                    <a:gd name="T20" fmla="*/ 0 w 860"/>
                    <a:gd name="T21" fmla="*/ 827 h 860"/>
                    <a:gd name="T22" fmla="*/ 1 w 860"/>
                    <a:gd name="T23" fmla="*/ 821 h 860"/>
                    <a:gd name="T24" fmla="*/ 3 w 860"/>
                    <a:gd name="T25" fmla="*/ 815 h 860"/>
                    <a:gd name="T26" fmla="*/ 5 w 860"/>
                    <a:gd name="T27" fmla="*/ 809 h 860"/>
                    <a:gd name="T28" fmla="*/ 11 w 860"/>
                    <a:gd name="T29" fmla="*/ 803 h 860"/>
                    <a:gd name="T30" fmla="*/ 803 w 860"/>
                    <a:gd name="T31" fmla="*/ 10 h 860"/>
                    <a:gd name="T32" fmla="*/ 803 w 860"/>
                    <a:gd name="T33" fmla="*/ 10 h 860"/>
                    <a:gd name="T34" fmla="*/ 809 w 860"/>
                    <a:gd name="T35" fmla="*/ 6 h 860"/>
                    <a:gd name="T36" fmla="*/ 815 w 860"/>
                    <a:gd name="T37" fmla="*/ 2 h 860"/>
                    <a:gd name="T38" fmla="*/ 821 w 860"/>
                    <a:gd name="T39" fmla="*/ 1 h 860"/>
                    <a:gd name="T40" fmla="*/ 827 w 860"/>
                    <a:gd name="T41" fmla="*/ 0 h 860"/>
                    <a:gd name="T42" fmla="*/ 833 w 860"/>
                    <a:gd name="T43" fmla="*/ 1 h 860"/>
                    <a:gd name="T44" fmla="*/ 840 w 860"/>
                    <a:gd name="T45" fmla="*/ 2 h 860"/>
                    <a:gd name="T46" fmla="*/ 845 w 860"/>
                    <a:gd name="T47" fmla="*/ 6 h 860"/>
                    <a:gd name="T48" fmla="*/ 850 w 860"/>
                    <a:gd name="T49" fmla="*/ 10 h 860"/>
                    <a:gd name="T50" fmla="*/ 850 w 860"/>
                    <a:gd name="T51" fmla="*/ 10 h 860"/>
                    <a:gd name="T52" fmla="*/ 855 w 860"/>
                    <a:gd name="T53" fmla="*/ 15 h 860"/>
                    <a:gd name="T54" fmla="*/ 857 w 860"/>
                    <a:gd name="T55" fmla="*/ 21 h 860"/>
                    <a:gd name="T56" fmla="*/ 859 w 860"/>
                    <a:gd name="T57" fmla="*/ 27 h 860"/>
                    <a:gd name="T58" fmla="*/ 860 w 860"/>
                    <a:gd name="T59" fmla="*/ 34 h 860"/>
                    <a:gd name="T60" fmla="*/ 859 w 860"/>
                    <a:gd name="T61" fmla="*/ 40 h 860"/>
                    <a:gd name="T62" fmla="*/ 857 w 860"/>
                    <a:gd name="T63" fmla="*/ 46 h 860"/>
                    <a:gd name="T64" fmla="*/ 855 w 860"/>
                    <a:gd name="T65" fmla="*/ 52 h 860"/>
                    <a:gd name="T66" fmla="*/ 850 w 860"/>
                    <a:gd name="T67" fmla="*/ 57 h 860"/>
                    <a:gd name="T68" fmla="*/ 57 w 860"/>
                    <a:gd name="T69" fmla="*/ 850 h 860"/>
                    <a:gd name="T70" fmla="*/ 57 w 860"/>
                    <a:gd name="T71" fmla="*/ 850 h 860"/>
                    <a:gd name="T72" fmla="*/ 52 w 860"/>
                    <a:gd name="T73" fmla="*/ 854 h 860"/>
                    <a:gd name="T74" fmla="*/ 46 w 860"/>
                    <a:gd name="T75" fmla="*/ 857 h 860"/>
                    <a:gd name="T76" fmla="*/ 40 w 860"/>
                    <a:gd name="T77" fmla="*/ 859 h 860"/>
                    <a:gd name="T78" fmla="*/ 33 w 860"/>
                    <a:gd name="T79" fmla="*/ 860 h 860"/>
                    <a:gd name="T80" fmla="*/ 33 w 860"/>
                    <a:gd name="T81" fmla="*/ 860 h 86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</a:cxnLst>
                  <a:rect l="0" t="0" r="r" b="b"/>
                  <a:pathLst>
                    <a:path w="860" h="860">
                      <a:moveTo>
                        <a:pt x="33" y="860"/>
                      </a:moveTo>
                      <a:lnTo>
                        <a:pt x="33" y="860"/>
                      </a:lnTo>
                      <a:lnTo>
                        <a:pt x="27" y="859"/>
                      </a:lnTo>
                      <a:lnTo>
                        <a:pt x="21" y="857"/>
                      </a:lnTo>
                      <a:lnTo>
                        <a:pt x="16" y="854"/>
                      </a:lnTo>
                      <a:lnTo>
                        <a:pt x="11" y="850"/>
                      </a:lnTo>
                      <a:lnTo>
                        <a:pt x="11" y="850"/>
                      </a:lnTo>
                      <a:lnTo>
                        <a:pt x="5" y="845"/>
                      </a:lnTo>
                      <a:lnTo>
                        <a:pt x="3" y="840"/>
                      </a:lnTo>
                      <a:lnTo>
                        <a:pt x="1" y="833"/>
                      </a:lnTo>
                      <a:lnTo>
                        <a:pt x="0" y="827"/>
                      </a:lnTo>
                      <a:lnTo>
                        <a:pt x="1" y="821"/>
                      </a:lnTo>
                      <a:lnTo>
                        <a:pt x="3" y="815"/>
                      </a:lnTo>
                      <a:lnTo>
                        <a:pt x="5" y="809"/>
                      </a:lnTo>
                      <a:lnTo>
                        <a:pt x="11" y="803"/>
                      </a:lnTo>
                      <a:lnTo>
                        <a:pt x="803" y="10"/>
                      </a:lnTo>
                      <a:lnTo>
                        <a:pt x="803" y="10"/>
                      </a:lnTo>
                      <a:lnTo>
                        <a:pt x="809" y="6"/>
                      </a:lnTo>
                      <a:lnTo>
                        <a:pt x="815" y="2"/>
                      </a:lnTo>
                      <a:lnTo>
                        <a:pt x="821" y="1"/>
                      </a:lnTo>
                      <a:lnTo>
                        <a:pt x="827" y="0"/>
                      </a:lnTo>
                      <a:lnTo>
                        <a:pt x="833" y="1"/>
                      </a:lnTo>
                      <a:lnTo>
                        <a:pt x="840" y="2"/>
                      </a:lnTo>
                      <a:lnTo>
                        <a:pt x="845" y="6"/>
                      </a:lnTo>
                      <a:lnTo>
                        <a:pt x="850" y="10"/>
                      </a:lnTo>
                      <a:lnTo>
                        <a:pt x="850" y="10"/>
                      </a:lnTo>
                      <a:lnTo>
                        <a:pt x="855" y="15"/>
                      </a:lnTo>
                      <a:lnTo>
                        <a:pt x="857" y="21"/>
                      </a:lnTo>
                      <a:lnTo>
                        <a:pt x="859" y="27"/>
                      </a:lnTo>
                      <a:lnTo>
                        <a:pt x="860" y="34"/>
                      </a:lnTo>
                      <a:lnTo>
                        <a:pt x="859" y="40"/>
                      </a:lnTo>
                      <a:lnTo>
                        <a:pt x="857" y="46"/>
                      </a:lnTo>
                      <a:lnTo>
                        <a:pt x="855" y="52"/>
                      </a:lnTo>
                      <a:lnTo>
                        <a:pt x="850" y="57"/>
                      </a:lnTo>
                      <a:lnTo>
                        <a:pt x="57" y="850"/>
                      </a:lnTo>
                      <a:lnTo>
                        <a:pt x="57" y="850"/>
                      </a:lnTo>
                      <a:lnTo>
                        <a:pt x="52" y="854"/>
                      </a:lnTo>
                      <a:lnTo>
                        <a:pt x="46" y="857"/>
                      </a:lnTo>
                      <a:lnTo>
                        <a:pt x="40" y="859"/>
                      </a:lnTo>
                      <a:lnTo>
                        <a:pt x="33" y="860"/>
                      </a:lnTo>
                      <a:lnTo>
                        <a:pt x="33" y="860"/>
                      </a:lnTo>
                      <a:close/>
                    </a:path>
                  </a:pathLst>
                </a:custGeom>
                <a:solidFill>
                  <a:srgbClr val="01010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41" name="Freeform 6">
                  <a:extLst>
                    <a:ext uri="{FF2B5EF4-FFF2-40B4-BE49-F238E27FC236}">
                      <a16:creationId xmlns:a16="http://schemas.microsoft.com/office/drawing/2014/main" id="{A1D8B027-C018-481C-81D8-C2FCD8597F36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4125913" y="2552700"/>
                  <a:ext cx="327025" cy="327025"/>
                </a:xfrm>
                <a:custGeom>
                  <a:avLst/>
                  <a:gdLst>
                    <a:gd name="T0" fmla="*/ 509 w 1444"/>
                    <a:gd name="T1" fmla="*/ 1438 h 1443"/>
                    <a:gd name="T2" fmla="*/ 379 w 1444"/>
                    <a:gd name="T3" fmla="*/ 1406 h 1443"/>
                    <a:gd name="T4" fmla="*/ 244 w 1444"/>
                    <a:gd name="T5" fmla="*/ 1345 h 1443"/>
                    <a:gd name="T6" fmla="*/ 153 w 1444"/>
                    <a:gd name="T7" fmla="*/ 1289 h 1443"/>
                    <a:gd name="T8" fmla="*/ 75 w 1444"/>
                    <a:gd name="T9" fmla="*/ 1153 h 1443"/>
                    <a:gd name="T10" fmla="*/ 20 w 1444"/>
                    <a:gd name="T11" fmla="*/ 1007 h 1443"/>
                    <a:gd name="T12" fmla="*/ 2 w 1444"/>
                    <a:gd name="T13" fmla="*/ 905 h 1443"/>
                    <a:gd name="T14" fmla="*/ 2 w 1444"/>
                    <a:gd name="T15" fmla="*/ 808 h 1443"/>
                    <a:gd name="T16" fmla="*/ 21 w 1444"/>
                    <a:gd name="T17" fmla="*/ 715 h 1443"/>
                    <a:gd name="T18" fmla="*/ 48 w 1444"/>
                    <a:gd name="T19" fmla="*/ 643 h 1443"/>
                    <a:gd name="T20" fmla="*/ 119 w 1444"/>
                    <a:gd name="T21" fmla="*/ 530 h 1443"/>
                    <a:gd name="T22" fmla="*/ 216 w 1444"/>
                    <a:gd name="T23" fmla="*/ 429 h 1443"/>
                    <a:gd name="T24" fmla="*/ 331 w 1444"/>
                    <a:gd name="T25" fmla="*/ 342 h 1443"/>
                    <a:gd name="T26" fmla="*/ 517 w 1444"/>
                    <a:gd name="T27" fmla="*/ 240 h 1443"/>
                    <a:gd name="T28" fmla="*/ 801 w 1444"/>
                    <a:gd name="T29" fmla="*/ 130 h 1443"/>
                    <a:gd name="T30" fmla="*/ 1072 w 1444"/>
                    <a:gd name="T31" fmla="*/ 58 h 1443"/>
                    <a:gd name="T32" fmla="*/ 1387 w 1444"/>
                    <a:gd name="T33" fmla="*/ 2 h 1443"/>
                    <a:gd name="T34" fmla="*/ 1428 w 1444"/>
                    <a:gd name="T35" fmla="*/ 5 h 1443"/>
                    <a:gd name="T36" fmla="*/ 1444 w 1444"/>
                    <a:gd name="T37" fmla="*/ 29 h 1443"/>
                    <a:gd name="T38" fmla="*/ 1426 w 1444"/>
                    <a:gd name="T39" fmla="*/ 158 h 1443"/>
                    <a:gd name="T40" fmla="*/ 1361 w 1444"/>
                    <a:gd name="T41" fmla="*/ 475 h 1443"/>
                    <a:gd name="T42" fmla="*/ 1274 w 1444"/>
                    <a:gd name="T43" fmla="*/ 756 h 1443"/>
                    <a:gd name="T44" fmla="*/ 1148 w 1444"/>
                    <a:gd name="T45" fmla="*/ 1036 h 1443"/>
                    <a:gd name="T46" fmla="*/ 1068 w 1444"/>
                    <a:gd name="T47" fmla="*/ 1161 h 1443"/>
                    <a:gd name="T48" fmla="*/ 976 w 1444"/>
                    <a:gd name="T49" fmla="*/ 1268 h 1443"/>
                    <a:gd name="T50" fmla="*/ 871 w 1444"/>
                    <a:gd name="T51" fmla="*/ 1355 h 1443"/>
                    <a:gd name="T52" fmla="*/ 774 w 1444"/>
                    <a:gd name="T53" fmla="*/ 1406 h 1443"/>
                    <a:gd name="T54" fmla="*/ 641 w 1444"/>
                    <a:gd name="T55" fmla="*/ 1440 h 1443"/>
                    <a:gd name="T56" fmla="*/ 201 w 1444"/>
                    <a:gd name="T57" fmla="*/ 1242 h 1443"/>
                    <a:gd name="T58" fmla="*/ 396 w 1444"/>
                    <a:gd name="T59" fmla="*/ 1341 h 1443"/>
                    <a:gd name="T60" fmla="*/ 558 w 1444"/>
                    <a:gd name="T61" fmla="*/ 1376 h 1443"/>
                    <a:gd name="T62" fmla="*/ 644 w 1444"/>
                    <a:gd name="T63" fmla="*/ 1373 h 1443"/>
                    <a:gd name="T64" fmla="*/ 726 w 1444"/>
                    <a:gd name="T65" fmla="*/ 1354 h 1443"/>
                    <a:gd name="T66" fmla="*/ 792 w 1444"/>
                    <a:gd name="T67" fmla="*/ 1325 h 1443"/>
                    <a:gd name="T68" fmla="*/ 885 w 1444"/>
                    <a:gd name="T69" fmla="*/ 1262 h 1443"/>
                    <a:gd name="T70" fmla="*/ 968 w 1444"/>
                    <a:gd name="T71" fmla="*/ 1179 h 1443"/>
                    <a:gd name="T72" fmla="*/ 1069 w 1444"/>
                    <a:gd name="T73" fmla="*/ 1039 h 1443"/>
                    <a:gd name="T74" fmla="*/ 1184 w 1444"/>
                    <a:gd name="T75" fmla="*/ 803 h 1443"/>
                    <a:gd name="T76" fmla="*/ 1269 w 1444"/>
                    <a:gd name="T77" fmla="*/ 554 h 1443"/>
                    <a:gd name="T78" fmla="*/ 1344 w 1444"/>
                    <a:gd name="T79" fmla="*/ 245 h 1443"/>
                    <a:gd name="T80" fmla="*/ 1327 w 1444"/>
                    <a:gd name="T81" fmla="*/ 77 h 1443"/>
                    <a:gd name="T82" fmla="*/ 984 w 1444"/>
                    <a:gd name="T83" fmla="*/ 149 h 1443"/>
                    <a:gd name="T84" fmla="*/ 740 w 1444"/>
                    <a:gd name="T85" fmla="*/ 222 h 1443"/>
                    <a:gd name="T86" fmla="*/ 496 w 1444"/>
                    <a:gd name="T87" fmla="*/ 325 h 1443"/>
                    <a:gd name="T88" fmla="*/ 301 w 1444"/>
                    <a:gd name="T89" fmla="*/ 445 h 1443"/>
                    <a:gd name="T90" fmla="*/ 212 w 1444"/>
                    <a:gd name="T91" fmla="*/ 524 h 1443"/>
                    <a:gd name="T92" fmla="*/ 141 w 1444"/>
                    <a:gd name="T93" fmla="*/ 613 h 1443"/>
                    <a:gd name="T94" fmla="*/ 102 w 1444"/>
                    <a:gd name="T95" fmla="*/ 687 h 1443"/>
                    <a:gd name="T96" fmla="*/ 76 w 1444"/>
                    <a:gd name="T97" fmla="*/ 766 h 1443"/>
                    <a:gd name="T98" fmla="*/ 67 w 1444"/>
                    <a:gd name="T99" fmla="*/ 850 h 1443"/>
                    <a:gd name="T100" fmla="*/ 80 w 1444"/>
                    <a:gd name="T101" fmla="*/ 974 h 1443"/>
                    <a:gd name="T102" fmla="*/ 153 w 1444"/>
                    <a:gd name="T103" fmla="*/ 1163 h 144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1444" h="1443">
                      <a:moveTo>
                        <a:pt x="585" y="1443"/>
                      </a:moveTo>
                      <a:lnTo>
                        <a:pt x="585" y="1443"/>
                      </a:lnTo>
                      <a:lnTo>
                        <a:pt x="560" y="1442"/>
                      </a:lnTo>
                      <a:lnTo>
                        <a:pt x="535" y="1441"/>
                      </a:lnTo>
                      <a:lnTo>
                        <a:pt x="509" y="1438"/>
                      </a:lnTo>
                      <a:lnTo>
                        <a:pt x="485" y="1434"/>
                      </a:lnTo>
                      <a:lnTo>
                        <a:pt x="459" y="1429"/>
                      </a:lnTo>
                      <a:lnTo>
                        <a:pt x="432" y="1423"/>
                      </a:lnTo>
                      <a:lnTo>
                        <a:pt x="406" y="1414"/>
                      </a:lnTo>
                      <a:lnTo>
                        <a:pt x="379" y="1406"/>
                      </a:lnTo>
                      <a:lnTo>
                        <a:pt x="352" y="1396"/>
                      </a:lnTo>
                      <a:lnTo>
                        <a:pt x="325" y="1384"/>
                      </a:lnTo>
                      <a:lnTo>
                        <a:pt x="298" y="1373"/>
                      </a:lnTo>
                      <a:lnTo>
                        <a:pt x="270" y="1359"/>
                      </a:lnTo>
                      <a:lnTo>
                        <a:pt x="244" y="1345"/>
                      </a:lnTo>
                      <a:lnTo>
                        <a:pt x="216" y="1328"/>
                      </a:lnTo>
                      <a:lnTo>
                        <a:pt x="188" y="1312"/>
                      </a:lnTo>
                      <a:lnTo>
                        <a:pt x="159" y="1294"/>
                      </a:lnTo>
                      <a:lnTo>
                        <a:pt x="159" y="1294"/>
                      </a:lnTo>
                      <a:lnTo>
                        <a:pt x="153" y="1289"/>
                      </a:lnTo>
                      <a:lnTo>
                        <a:pt x="149" y="1284"/>
                      </a:lnTo>
                      <a:lnTo>
                        <a:pt x="149" y="1284"/>
                      </a:lnTo>
                      <a:lnTo>
                        <a:pt x="121" y="1240"/>
                      </a:lnTo>
                      <a:lnTo>
                        <a:pt x="97" y="1196"/>
                      </a:lnTo>
                      <a:lnTo>
                        <a:pt x="75" y="1153"/>
                      </a:lnTo>
                      <a:lnTo>
                        <a:pt x="55" y="1111"/>
                      </a:lnTo>
                      <a:lnTo>
                        <a:pt x="40" y="1069"/>
                      </a:lnTo>
                      <a:lnTo>
                        <a:pt x="32" y="1048"/>
                      </a:lnTo>
                      <a:lnTo>
                        <a:pt x="26" y="1027"/>
                      </a:lnTo>
                      <a:lnTo>
                        <a:pt x="20" y="1007"/>
                      </a:lnTo>
                      <a:lnTo>
                        <a:pt x="15" y="986"/>
                      </a:lnTo>
                      <a:lnTo>
                        <a:pt x="11" y="965"/>
                      </a:lnTo>
                      <a:lnTo>
                        <a:pt x="8" y="946"/>
                      </a:lnTo>
                      <a:lnTo>
                        <a:pt x="4" y="926"/>
                      </a:lnTo>
                      <a:lnTo>
                        <a:pt x="2" y="905"/>
                      </a:lnTo>
                      <a:lnTo>
                        <a:pt x="1" y="885"/>
                      </a:lnTo>
                      <a:lnTo>
                        <a:pt x="0" y="866"/>
                      </a:lnTo>
                      <a:lnTo>
                        <a:pt x="0" y="847"/>
                      </a:lnTo>
                      <a:lnTo>
                        <a:pt x="1" y="828"/>
                      </a:lnTo>
                      <a:lnTo>
                        <a:pt x="2" y="808"/>
                      </a:lnTo>
                      <a:lnTo>
                        <a:pt x="4" y="789"/>
                      </a:lnTo>
                      <a:lnTo>
                        <a:pt x="8" y="771"/>
                      </a:lnTo>
                      <a:lnTo>
                        <a:pt x="12" y="752"/>
                      </a:lnTo>
                      <a:lnTo>
                        <a:pt x="16" y="733"/>
                      </a:lnTo>
                      <a:lnTo>
                        <a:pt x="21" y="715"/>
                      </a:lnTo>
                      <a:lnTo>
                        <a:pt x="26" y="697"/>
                      </a:lnTo>
                      <a:lnTo>
                        <a:pt x="33" y="679"/>
                      </a:lnTo>
                      <a:lnTo>
                        <a:pt x="41" y="661"/>
                      </a:lnTo>
                      <a:lnTo>
                        <a:pt x="48" y="643"/>
                      </a:lnTo>
                      <a:lnTo>
                        <a:pt x="48" y="643"/>
                      </a:lnTo>
                      <a:lnTo>
                        <a:pt x="60" y="620"/>
                      </a:lnTo>
                      <a:lnTo>
                        <a:pt x="74" y="596"/>
                      </a:lnTo>
                      <a:lnTo>
                        <a:pt x="88" y="573"/>
                      </a:lnTo>
                      <a:lnTo>
                        <a:pt x="103" y="551"/>
                      </a:lnTo>
                      <a:lnTo>
                        <a:pt x="119" y="530"/>
                      </a:lnTo>
                      <a:lnTo>
                        <a:pt x="137" y="508"/>
                      </a:lnTo>
                      <a:lnTo>
                        <a:pt x="156" y="488"/>
                      </a:lnTo>
                      <a:lnTo>
                        <a:pt x="174" y="467"/>
                      </a:lnTo>
                      <a:lnTo>
                        <a:pt x="195" y="448"/>
                      </a:lnTo>
                      <a:lnTo>
                        <a:pt x="216" y="429"/>
                      </a:lnTo>
                      <a:lnTo>
                        <a:pt x="237" y="411"/>
                      </a:lnTo>
                      <a:lnTo>
                        <a:pt x="260" y="393"/>
                      </a:lnTo>
                      <a:lnTo>
                        <a:pt x="283" y="375"/>
                      </a:lnTo>
                      <a:lnTo>
                        <a:pt x="307" y="359"/>
                      </a:lnTo>
                      <a:lnTo>
                        <a:pt x="331" y="342"/>
                      </a:lnTo>
                      <a:lnTo>
                        <a:pt x="356" y="326"/>
                      </a:lnTo>
                      <a:lnTo>
                        <a:pt x="382" y="310"/>
                      </a:lnTo>
                      <a:lnTo>
                        <a:pt x="408" y="296"/>
                      </a:lnTo>
                      <a:lnTo>
                        <a:pt x="462" y="267"/>
                      </a:lnTo>
                      <a:lnTo>
                        <a:pt x="517" y="240"/>
                      </a:lnTo>
                      <a:lnTo>
                        <a:pt x="573" y="215"/>
                      </a:lnTo>
                      <a:lnTo>
                        <a:pt x="630" y="191"/>
                      </a:lnTo>
                      <a:lnTo>
                        <a:pt x="687" y="169"/>
                      </a:lnTo>
                      <a:lnTo>
                        <a:pt x="744" y="149"/>
                      </a:lnTo>
                      <a:lnTo>
                        <a:pt x="801" y="130"/>
                      </a:lnTo>
                      <a:lnTo>
                        <a:pt x="858" y="113"/>
                      </a:lnTo>
                      <a:lnTo>
                        <a:pt x="914" y="97"/>
                      </a:lnTo>
                      <a:lnTo>
                        <a:pt x="968" y="83"/>
                      </a:lnTo>
                      <a:lnTo>
                        <a:pt x="1022" y="70"/>
                      </a:lnTo>
                      <a:lnTo>
                        <a:pt x="1072" y="58"/>
                      </a:lnTo>
                      <a:lnTo>
                        <a:pt x="1121" y="47"/>
                      </a:lnTo>
                      <a:lnTo>
                        <a:pt x="1210" y="30"/>
                      </a:lnTo>
                      <a:lnTo>
                        <a:pt x="1286" y="17"/>
                      </a:lnTo>
                      <a:lnTo>
                        <a:pt x="1346" y="8"/>
                      </a:lnTo>
                      <a:lnTo>
                        <a:pt x="1387" y="2"/>
                      </a:lnTo>
                      <a:lnTo>
                        <a:pt x="1408" y="0"/>
                      </a:lnTo>
                      <a:lnTo>
                        <a:pt x="1408" y="0"/>
                      </a:lnTo>
                      <a:lnTo>
                        <a:pt x="1415" y="0"/>
                      </a:lnTo>
                      <a:lnTo>
                        <a:pt x="1422" y="2"/>
                      </a:lnTo>
                      <a:lnTo>
                        <a:pt x="1428" y="5"/>
                      </a:lnTo>
                      <a:lnTo>
                        <a:pt x="1435" y="9"/>
                      </a:lnTo>
                      <a:lnTo>
                        <a:pt x="1435" y="9"/>
                      </a:lnTo>
                      <a:lnTo>
                        <a:pt x="1439" y="15"/>
                      </a:lnTo>
                      <a:lnTo>
                        <a:pt x="1442" y="22"/>
                      </a:lnTo>
                      <a:lnTo>
                        <a:pt x="1444" y="29"/>
                      </a:lnTo>
                      <a:lnTo>
                        <a:pt x="1444" y="36"/>
                      </a:lnTo>
                      <a:lnTo>
                        <a:pt x="1444" y="36"/>
                      </a:lnTo>
                      <a:lnTo>
                        <a:pt x="1441" y="57"/>
                      </a:lnTo>
                      <a:lnTo>
                        <a:pt x="1436" y="98"/>
                      </a:lnTo>
                      <a:lnTo>
                        <a:pt x="1426" y="158"/>
                      </a:lnTo>
                      <a:lnTo>
                        <a:pt x="1414" y="234"/>
                      </a:lnTo>
                      <a:lnTo>
                        <a:pt x="1396" y="323"/>
                      </a:lnTo>
                      <a:lnTo>
                        <a:pt x="1386" y="371"/>
                      </a:lnTo>
                      <a:lnTo>
                        <a:pt x="1374" y="422"/>
                      </a:lnTo>
                      <a:lnTo>
                        <a:pt x="1361" y="475"/>
                      </a:lnTo>
                      <a:lnTo>
                        <a:pt x="1347" y="530"/>
                      </a:lnTo>
                      <a:lnTo>
                        <a:pt x="1330" y="585"/>
                      </a:lnTo>
                      <a:lnTo>
                        <a:pt x="1314" y="641"/>
                      </a:lnTo>
                      <a:lnTo>
                        <a:pt x="1295" y="699"/>
                      </a:lnTo>
                      <a:lnTo>
                        <a:pt x="1274" y="756"/>
                      </a:lnTo>
                      <a:lnTo>
                        <a:pt x="1253" y="814"/>
                      </a:lnTo>
                      <a:lnTo>
                        <a:pt x="1229" y="871"/>
                      </a:lnTo>
                      <a:lnTo>
                        <a:pt x="1204" y="927"/>
                      </a:lnTo>
                      <a:lnTo>
                        <a:pt x="1177" y="982"/>
                      </a:lnTo>
                      <a:lnTo>
                        <a:pt x="1148" y="1036"/>
                      </a:lnTo>
                      <a:lnTo>
                        <a:pt x="1134" y="1061"/>
                      </a:lnTo>
                      <a:lnTo>
                        <a:pt x="1118" y="1087"/>
                      </a:lnTo>
                      <a:lnTo>
                        <a:pt x="1101" y="1112"/>
                      </a:lnTo>
                      <a:lnTo>
                        <a:pt x="1085" y="1136"/>
                      </a:lnTo>
                      <a:lnTo>
                        <a:pt x="1068" y="1161"/>
                      </a:lnTo>
                      <a:lnTo>
                        <a:pt x="1051" y="1183"/>
                      </a:lnTo>
                      <a:lnTo>
                        <a:pt x="1033" y="1206"/>
                      </a:lnTo>
                      <a:lnTo>
                        <a:pt x="1015" y="1228"/>
                      </a:lnTo>
                      <a:lnTo>
                        <a:pt x="995" y="1249"/>
                      </a:lnTo>
                      <a:lnTo>
                        <a:pt x="976" y="1268"/>
                      </a:lnTo>
                      <a:lnTo>
                        <a:pt x="956" y="1288"/>
                      </a:lnTo>
                      <a:lnTo>
                        <a:pt x="935" y="1307"/>
                      </a:lnTo>
                      <a:lnTo>
                        <a:pt x="914" y="1324"/>
                      </a:lnTo>
                      <a:lnTo>
                        <a:pt x="892" y="1340"/>
                      </a:lnTo>
                      <a:lnTo>
                        <a:pt x="871" y="1355"/>
                      </a:lnTo>
                      <a:lnTo>
                        <a:pt x="848" y="1370"/>
                      </a:lnTo>
                      <a:lnTo>
                        <a:pt x="824" y="1383"/>
                      </a:lnTo>
                      <a:lnTo>
                        <a:pt x="800" y="1395"/>
                      </a:lnTo>
                      <a:lnTo>
                        <a:pt x="800" y="1395"/>
                      </a:lnTo>
                      <a:lnTo>
                        <a:pt x="774" y="1406"/>
                      </a:lnTo>
                      <a:lnTo>
                        <a:pt x="749" y="1416"/>
                      </a:lnTo>
                      <a:lnTo>
                        <a:pt x="723" y="1425"/>
                      </a:lnTo>
                      <a:lnTo>
                        <a:pt x="696" y="1431"/>
                      </a:lnTo>
                      <a:lnTo>
                        <a:pt x="669" y="1436"/>
                      </a:lnTo>
                      <a:lnTo>
                        <a:pt x="641" y="1440"/>
                      </a:lnTo>
                      <a:lnTo>
                        <a:pt x="613" y="1442"/>
                      </a:lnTo>
                      <a:lnTo>
                        <a:pt x="585" y="1443"/>
                      </a:lnTo>
                      <a:lnTo>
                        <a:pt x="585" y="1443"/>
                      </a:lnTo>
                      <a:close/>
                      <a:moveTo>
                        <a:pt x="201" y="1242"/>
                      </a:moveTo>
                      <a:lnTo>
                        <a:pt x="201" y="1242"/>
                      </a:lnTo>
                      <a:lnTo>
                        <a:pt x="241" y="1267"/>
                      </a:lnTo>
                      <a:lnTo>
                        <a:pt x="281" y="1289"/>
                      </a:lnTo>
                      <a:lnTo>
                        <a:pt x="319" y="1309"/>
                      </a:lnTo>
                      <a:lnTo>
                        <a:pt x="357" y="1326"/>
                      </a:lnTo>
                      <a:lnTo>
                        <a:pt x="396" y="1341"/>
                      </a:lnTo>
                      <a:lnTo>
                        <a:pt x="433" y="1353"/>
                      </a:lnTo>
                      <a:lnTo>
                        <a:pt x="469" y="1362"/>
                      </a:lnTo>
                      <a:lnTo>
                        <a:pt x="505" y="1370"/>
                      </a:lnTo>
                      <a:lnTo>
                        <a:pt x="541" y="1375"/>
                      </a:lnTo>
                      <a:lnTo>
                        <a:pt x="558" y="1376"/>
                      </a:lnTo>
                      <a:lnTo>
                        <a:pt x="576" y="1377"/>
                      </a:lnTo>
                      <a:lnTo>
                        <a:pt x="593" y="1377"/>
                      </a:lnTo>
                      <a:lnTo>
                        <a:pt x="610" y="1376"/>
                      </a:lnTo>
                      <a:lnTo>
                        <a:pt x="626" y="1375"/>
                      </a:lnTo>
                      <a:lnTo>
                        <a:pt x="644" y="1373"/>
                      </a:lnTo>
                      <a:lnTo>
                        <a:pt x="661" y="1371"/>
                      </a:lnTo>
                      <a:lnTo>
                        <a:pt x="677" y="1368"/>
                      </a:lnTo>
                      <a:lnTo>
                        <a:pt x="693" y="1364"/>
                      </a:lnTo>
                      <a:lnTo>
                        <a:pt x="709" y="1359"/>
                      </a:lnTo>
                      <a:lnTo>
                        <a:pt x="726" y="1354"/>
                      </a:lnTo>
                      <a:lnTo>
                        <a:pt x="741" y="1348"/>
                      </a:lnTo>
                      <a:lnTo>
                        <a:pt x="757" y="1342"/>
                      </a:lnTo>
                      <a:lnTo>
                        <a:pt x="772" y="1336"/>
                      </a:lnTo>
                      <a:lnTo>
                        <a:pt x="772" y="1336"/>
                      </a:lnTo>
                      <a:lnTo>
                        <a:pt x="792" y="1325"/>
                      </a:lnTo>
                      <a:lnTo>
                        <a:pt x="812" y="1315"/>
                      </a:lnTo>
                      <a:lnTo>
                        <a:pt x="830" y="1302"/>
                      </a:lnTo>
                      <a:lnTo>
                        <a:pt x="849" y="1290"/>
                      </a:lnTo>
                      <a:lnTo>
                        <a:pt x="868" y="1277"/>
                      </a:lnTo>
                      <a:lnTo>
                        <a:pt x="885" y="1262"/>
                      </a:lnTo>
                      <a:lnTo>
                        <a:pt x="903" y="1248"/>
                      </a:lnTo>
                      <a:lnTo>
                        <a:pt x="919" y="1231"/>
                      </a:lnTo>
                      <a:lnTo>
                        <a:pt x="936" y="1215"/>
                      </a:lnTo>
                      <a:lnTo>
                        <a:pt x="952" y="1198"/>
                      </a:lnTo>
                      <a:lnTo>
                        <a:pt x="968" y="1179"/>
                      </a:lnTo>
                      <a:lnTo>
                        <a:pt x="983" y="1161"/>
                      </a:lnTo>
                      <a:lnTo>
                        <a:pt x="999" y="1142"/>
                      </a:lnTo>
                      <a:lnTo>
                        <a:pt x="1013" y="1122"/>
                      </a:lnTo>
                      <a:lnTo>
                        <a:pt x="1042" y="1081"/>
                      </a:lnTo>
                      <a:lnTo>
                        <a:pt x="1069" y="1039"/>
                      </a:lnTo>
                      <a:lnTo>
                        <a:pt x="1095" y="993"/>
                      </a:lnTo>
                      <a:lnTo>
                        <a:pt x="1119" y="948"/>
                      </a:lnTo>
                      <a:lnTo>
                        <a:pt x="1142" y="900"/>
                      </a:lnTo>
                      <a:lnTo>
                        <a:pt x="1165" y="851"/>
                      </a:lnTo>
                      <a:lnTo>
                        <a:pt x="1184" y="803"/>
                      </a:lnTo>
                      <a:lnTo>
                        <a:pt x="1204" y="753"/>
                      </a:lnTo>
                      <a:lnTo>
                        <a:pt x="1221" y="703"/>
                      </a:lnTo>
                      <a:lnTo>
                        <a:pt x="1239" y="654"/>
                      </a:lnTo>
                      <a:lnTo>
                        <a:pt x="1255" y="604"/>
                      </a:lnTo>
                      <a:lnTo>
                        <a:pt x="1269" y="554"/>
                      </a:lnTo>
                      <a:lnTo>
                        <a:pt x="1283" y="507"/>
                      </a:lnTo>
                      <a:lnTo>
                        <a:pt x="1295" y="459"/>
                      </a:lnTo>
                      <a:lnTo>
                        <a:pt x="1306" y="413"/>
                      </a:lnTo>
                      <a:lnTo>
                        <a:pt x="1327" y="326"/>
                      </a:lnTo>
                      <a:lnTo>
                        <a:pt x="1344" y="245"/>
                      </a:lnTo>
                      <a:lnTo>
                        <a:pt x="1356" y="175"/>
                      </a:lnTo>
                      <a:lnTo>
                        <a:pt x="1365" y="117"/>
                      </a:lnTo>
                      <a:lnTo>
                        <a:pt x="1373" y="71"/>
                      </a:lnTo>
                      <a:lnTo>
                        <a:pt x="1373" y="71"/>
                      </a:lnTo>
                      <a:lnTo>
                        <a:pt x="1327" y="77"/>
                      </a:lnTo>
                      <a:lnTo>
                        <a:pt x="1269" y="88"/>
                      </a:lnTo>
                      <a:lnTo>
                        <a:pt x="1199" y="100"/>
                      </a:lnTo>
                      <a:lnTo>
                        <a:pt x="1118" y="117"/>
                      </a:lnTo>
                      <a:lnTo>
                        <a:pt x="1031" y="137"/>
                      </a:lnTo>
                      <a:lnTo>
                        <a:pt x="984" y="149"/>
                      </a:lnTo>
                      <a:lnTo>
                        <a:pt x="937" y="161"/>
                      </a:lnTo>
                      <a:lnTo>
                        <a:pt x="888" y="175"/>
                      </a:lnTo>
                      <a:lnTo>
                        <a:pt x="840" y="189"/>
                      </a:lnTo>
                      <a:lnTo>
                        <a:pt x="790" y="205"/>
                      </a:lnTo>
                      <a:lnTo>
                        <a:pt x="740" y="222"/>
                      </a:lnTo>
                      <a:lnTo>
                        <a:pt x="691" y="240"/>
                      </a:lnTo>
                      <a:lnTo>
                        <a:pt x="641" y="259"/>
                      </a:lnTo>
                      <a:lnTo>
                        <a:pt x="592" y="279"/>
                      </a:lnTo>
                      <a:lnTo>
                        <a:pt x="544" y="301"/>
                      </a:lnTo>
                      <a:lnTo>
                        <a:pt x="496" y="325"/>
                      </a:lnTo>
                      <a:lnTo>
                        <a:pt x="449" y="348"/>
                      </a:lnTo>
                      <a:lnTo>
                        <a:pt x="405" y="374"/>
                      </a:lnTo>
                      <a:lnTo>
                        <a:pt x="363" y="401"/>
                      </a:lnTo>
                      <a:lnTo>
                        <a:pt x="321" y="430"/>
                      </a:lnTo>
                      <a:lnTo>
                        <a:pt x="301" y="445"/>
                      </a:lnTo>
                      <a:lnTo>
                        <a:pt x="282" y="460"/>
                      </a:lnTo>
                      <a:lnTo>
                        <a:pt x="264" y="476"/>
                      </a:lnTo>
                      <a:lnTo>
                        <a:pt x="246" y="491"/>
                      </a:lnTo>
                      <a:lnTo>
                        <a:pt x="229" y="508"/>
                      </a:lnTo>
                      <a:lnTo>
                        <a:pt x="212" y="524"/>
                      </a:lnTo>
                      <a:lnTo>
                        <a:pt x="196" y="541"/>
                      </a:lnTo>
                      <a:lnTo>
                        <a:pt x="181" y="559"/>
                      </a:lnTo>
                      <a:lnTo>
                        <a:pt x="167" y="576"/>
                      </a:lnTo>
                      <a:lnTo>
                        <a:pt x="153" y="595"/>
                      </a:lnTo>
                      <a:lnTo>
                        <a:pt x="141" y="613"/>
                      </a:lnTo>
                      <a:lnTo>
                        <a:pt x="129" y="632"/>
                      </a:lnTo>
                      <a:lnTo>
                        <a:pt x="118" y="652"/>
                      </a:lnTo>
                      <a:lnTo>
                        <a:pt x="108" y="671"/>
                      </a:lnTo>
                      <a:lnTo>
                        <a:pt x="108" y="671"/>
                      </a:lnTo>
                      <a:lnTo>
                        <a:pt x="102" y="687"/>
                      </a:lnTo>
                      <a:lnTo>
                        <a:pt x="95" y="702"/>
                      </a:lnTo>
                      <a:lnTo>
                        <a:pt x="89" y="718"/>
                      </a:lnTo>
                      <a:lnTo>
                        <a:pt x="84" y="734"/>
                      </a:lnTo>
                      <a:lnTo>
                        <a:pt x="80" y="750"/>
                      </a:lnTo>
                      <a:lnTo>
                        <a:pt x="76" y="766"/>
                      </a:lnTo>
                      <a:lnTo>
                        <a:pt x="73" y="783"/>
                      </a:lnTo>
                      <a:lnTo>
                        <a:pt x="71" y="800"/>
                      </a:lnTo>
                      <a:lnTo>
                        <a:pt x="69" y="816"/>
                      </a:lnTo>
                      <a:lnTo>
                        <a:pt x="68" y="834"/>
                      </a:lnTo>
                      <a:lnTo>
                        <a:pt x="67" y="850"/>
                      </a:lnTo>
                      <a:lnTo>
                        <a:pt x="67" y="868"/>
                      </a:lnTo>
                      <a:lnTo>
                        <a:pt x="68" y="885"/>
                      </a:lnTo>
                      <a:lnTo>
                        <a:pt x="69" y="903"/>
                      </a:lnTo>
                      <a:lnTo>
                        <a:pt x="74" y="938"/>
                      </a:lnTo>
                      <a:lnTo>
                        <a:pt x="80" y="974"/>
                      </a:lnTo>
                      <a:lnTo>
                        <a:pt x="90" y="1011"/>
                      </a:lnTo>
                      <a:lnTo>
                        <a:pt x="103" y="1048"/>
                      </a:lnTo>
                      <a:lnTo>
                        <a:pt x="117" y="1086"/>
                      </a:lnTo>
                      <a:lnTo>
                        <a:pt x="134" y="1125"/>
                      </a:lnTo>
                      <a:lnTo>
                        <a:pt x="153" y="1163"/>
                      </a:lnTo>
                      <a:lnTo>
                        <a:pt x="176" y="1202"/>
                      </a:lnTo>
                      <a:lnTo>
                        <a:pt x="201" y="1242"/>
                      </a:lnTo>
                      <a:lnTo>
                        <a:pt x="201" y="1242"/>
                      </a:lnTo>
                      <a:close/>
                    </a:path>
                  </a:pathLst>
                </a:custGeom>
                <a:solidFill>
                  <a:srgbClr val="01010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42" name="Freeform 7">
                  <a:extLst>
                    <a:ext uri="{FF2B5EF4-FFF2-40B4-BE49-F238E27FC236}">
                      <a16:creationId xmlns:a16="http://schemas.microsoft.com/office/drawing/2014/main" id="{1428892E-67C7-47AB-A79D-80209A862D3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205288" y="2709863"/>
                  <a:ext cx="90488" cy="88900"/>
                </a:xfrm>
                <a:custGeom>
                  <a:avLst/>
                  <a:gdLst>
                    <a:gd name="T0" fmla="*/ 363 w 397"/>
                    <a:gd name="T1" fmla="*/ 396 h 396"/>
                    <a:gd name="T2" fmla="*/ 33 w 397"/>
                    <a:gd name="T3" fmla="*/ 396 h 396"/>
                    <a:gd name="T4" fmla="*/ 33 w 397"/>
                    <a:gd name="T5" fmla="*/ 396 h 396"/>
                    <a:gd name="T6" fmla="*/ 26 w 397"/>
                    <a:gd name="T7" fmla="*/ 395 h 396"/>
                    <a:gd name="T8" fmla="*/ 20 w 397"/>
                    <a:gd name="T9" fmla="*/ 394 h 396"/>
                    <a:gd name="T10" fmla="*/ 15 w 397"/>
                    <a:gd name="T11" fmla="*/ 391 h 396"/>
                    <a:gd name="T12" fmla="*/ 10 w 397"/>
                    <a:gd name="T13" fmla="*/ 387 h 396"/>
                    <a:gd name="T14" fmla="*/ 5 w 397"/>
                    <a:gd name="T15" fmla="*/ 382 h 396"/>
                    <a:gd name="T16" fmla="*/ 2 w 397"/>
                    <a:gd name="T17" fmla="*/ 377 h 396"/>
                    <a:gd name="T18" fmla="*/ 0 w 397"/>
                    <a:gd name="T19" fmla="*/ 370 h 396"/>
                    <a:gd name="T20" fmla="*/ 0 w 397"/>
                    <a:gd name="T21" fmla="*/ 363 h 396"/>
                    <a:gd name="T22" fmla="*/ 0 w 397"/>
                    <a:gd name="T23" fmla="*/ 33 h 396"/>
                    <a:gd name="T24" fmla="*/ 0 w 397"/>
                    <a:gd name="T25" fmla="*/ 33 h 396"/>
                    <a:gd name="T26" fmla="*/ 0 w 397"/>
                    <a:gd name="T27" fmla="*/ 26 h 396"/>
                    <a:gd name="T28" fmla="*/ 2 w 397"/>
                    <a:gd name="T29" fmla="*/ 20 h 396"/>
                    <a:gd name="T30" fmla="*/ 5 w 397"/>
                    <a:gd name="T31" fmla="*/ 15 h 396"/>
                    <a:gd name="T32" fmla="*/ 10 w 397"/>
                    <a:gd name="T33" fmla="*/ 9 h 396"/>
                    <a:gd name="T34" fmla="*/ 15 w 397"/>
                    <a:gd name="T35" fmla="*/ 5 h 396"/>
                    <a:gd name="T36" fmla="*/ 20 w 397"/>
                    <a:gd name="T37" fmla="*/ 2 h 396"/>
                    <a:gd name="T38" fmla="*/ 26 w 397"/>
                    <a:gd name="T39" fmla="*/ 0 h 396"/>
                    <a:gd name="T40" fmla="*/ 33 w 397"/>
                    <a:gd name="T41" fmla="*/ 0 h 396"/>
                    <a:gd name="T42" fmla="*/ 33 w 397"/>
                    <a:gd name="T43" fmla="*/ 0 h 396"/>
                    <a:gd name="T44" fmla="*/ 40 w 397"/>
                    <a:gd name="T45" fmla="*/ 0 h 396"/>
                    <a:gd name="T46" fmla="*/ 46 w 397"/>
                    <a:gd name="T47" fmla="*/ 2 h 396"/>
                    <a:gd name="T48" fmla="*/ 52 w 397"/>
                    <a:gd name="T49" fmla="*/ 5 h 396"/>
                    <a:gd name="T50" fmla="*/ 56 w 397"/>
                    <a:gd name="T51" fmla="*/ 9 h 396"/>
                    <a:gd name="T52" fmla="*/ 60 w 397"/>
                    <a:gd name="T53" fmla="*/ 15 h 396"/>
                    <a:gd name="T54" fmla="*/ 63 w 397"/>
                    <a:gd name="T55" fmla="*/ 20 h 396"/>
                    <a:gd name="T56" fmla="*/ 65 w 397"/>
                    <a:gd name="T57" fmla="*/ 26 h 396"/>
                    <a:gd name="T58" fmla="*/ 66 w 397"/>
                    <a:gd name="T59" fmla="*/ 33 h 396"/>
                    <a:gd name="T60" fmla="*/ 66 w 397"/>
                    <a:gd name="T61" fmla="*/ 330 h 396"/>
                    <a:gd name="T62" fmla="*/ 363 w 397"/>
                    <a:gd name="T63" fmla="*/ 330 h 396"/>
                    <a:gd name="T64" fmla="*/ 363 w 397"/>
                    <a:gd name="T65" fmla="*/ 330 h 396"/>
                    <a:gd name="T66" fmla="*/ 371 w 397"/>
                    <a:gd name="T67" fmla="*/ 331 h 396"/>
                    <a:gd name="T68" fmla="*/ 377 w 397"/>
                    <a:gd name="T69" fmla="*/ 333 h 396"/>
                    <a:gd name="T70" fmla="*/ 382 w 397"/>
                    <a:gd name="T71" fmla="*/ 336 h 396"/>
                    <a:gd name="T72" fmla="*/ 387 w 397"/>
                    <a:gd name="T73" fmla="*/ 340 h 396"/>
                    <a:gd name="T74" fmla="*/ 391 w 397"/>
                    <a:gd name="T75" fmla="*/ 345 h 396"/>
                    <a:gd name="T76" fmla="*/ 395 w 397"/>
                    <a:gd name="T77" fmla="*/ 351 h 396"/>
                    <a:gd name="T78" fmla="*/ 396 w 397"/>
                    <a:gd name="T79" fmla="*/ 357 h 396"/>
                    <a:gd name="T80" fmla="*/ 397 w 397"/>
                    <a:gd name="T81" fmla="*/ 363 h 396"/>
                    <a:gd name="T82" fmla="*/ 397 w 397"/>
                    <a:gd name="T83" fmla="*/ 363 h 396"/>
                    <a:gd name="T84" fmla="*/ 396 w 397"/>
                    <a:gd name="T85" fmla="*/ 370 h 396"/>
                    <a:gd name="T86" fmla="*/ 395 w 397"/>
                    <a:gd name="T87" fmla="*/ 377 h 396"/>
                    <a:gd name="T88" fmla="*/ 391 w 397"/>
                    <a:gd name="T89" fmla="*/ 382 h 396"/>
                    <a:gd name="T90" fmla="*/ 387 w 397"/>
                    <a:gd name="T91" fmla="*/ 387 h 396"/>
                    <a:gd name="T92" fmla="*/ 382 w 397"/>
                    <a:gd name="T93" fmla="*/ 391 h 396"/>
                    <a:gd name="T94" fmla="*/ 377 w 397"/>
                    <a:gd name="T95" fmla="*/ 394 h 396"/>
                    <a:gd name="T96" fmla="*/ 371 w 397"/>
                    <a:gd name="T97" fmla="*/ 395 h 396"/>
                    <a:gd name="T98" fmla="*/ 363 w 397"/>
                    <a:gd name="T99" fmla="*/ 396 h 396"/>
                    <a:gd name="T100" fmla="*/ 363 w 397"/>
                    <a:gd name="T101" fmla="*/ 396 h 39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</a:cxnLst>
                  <a:rect l="0" t="0" r="r" b="b"/>
                  <a:pathLst>
                    <a:path w="397" h="396">
                      <a:moveTo>
                        <a:pt x="363" y="396"/>
                      </a:moveTo>
                      <a:lnTo>
                        <a:pt x="33" y="396"/>
                      </a:lnTo>
                      <a:lnTo>
                        <a:pt x="33" y="396"/>
                      </a:lnTo>
                      <a:lnTo>
                        <a:pt x="26" y="395"/>
                      </a:lnTo>
                      <a:lnTo>
                        <a:pt x="20" y="394"/>
                      </a:lnTo>
                      <a:lnTo>
                        <a:pt x="15" y="391"/>
                      </a:lnTo>
                      <a:lnTo>
                        <a:pt x="10" y="387"/>
                      </a:lnTo>
                      <a:lnTo>
                        <a:pt x="5" y="382"/>
                      </a:lnTo>
                      <a:lnTo>
                        <a:pt x="2" y="377"/>
                      </a:lnTo>
                      <a:lnTo>
                        <a:pt x="0" y="370"/>
                      </a:lnTo>
                      <a:lnTo>
                        <a:pt x="0" y="363"/>
                      </a:lnTo>
                      <a:lnTo>
                        <a:pt x="0" y="33"/>
                      </a:lnTo>
                      <a:lnTo>
                        <a:pt x="0" y="33"/>
                      </a:lnTo>
                      <a:lnTo>
                        <a:pt x="0" y="26"/>
                      </a:lnTo>
                      <a:lnTo>
                        <a:pt x="2" y="20"/>
                      </a:lnTo>
                      <a:lnTo>
                        <a:pt x="5" y="15"/>
                      </a:lnTo>
                      <a:lnTo>
                        <a:pt x="10" y="9"/>
                      </a:lnTo>
                      <a:lnTo>
                        <a:pt x="15" y="5"/>
                      </a:lnTo>
                      <a:lnTo>
                        <a:pt x="20" y="2"/>
                      </a:lnTo>
                      <a:lnTo>
                        <a:pt x="26" y="0"/>
                      </a:lnTo>
                      <a:lnTo>
                        <a:pt x="33" y="0"/>
                      </a:lnTo>
                      <a:lnTo>
                        <a:pt x="33" y="0"/>
                      </a:lnTo>
                      <a:lnTo>
                        <a:pt x="40" y="0"/>
                      </a:lnTo>
                      <a:lnTo>
                        <a:pt x="46" y="2"/>
                      </a:lnTo>
                      <a:lnTo>
                        <a:pt x="52" y="5"/>
                      </a:lnTo>
                      <a:lnTo>
                        <a:pt x="56" y="9"/>
                      </a:lnTo>
                      <a:lnTo>
                        <a:pt x="60" y="15"/>
                      </a:lnTo>
                      <a:lnTo>
                        <a:pt x="63" y="20"/>
                      </a:lnTo>
                      <a:lnTo>
                        <a:pt x="65" y="26"/>
                      </a:lnTo>
                      <a:lnTo>
                        <a:pt x="66" y="33"/>
                      </a:lnTo>
                      <a:lnTo>
                        <a:pt x="66" y="330"/>
                      </a:lnTo>
                      <a:lnTo>
                        <a:pt x="363" y="330"/>
                      </a:lnTo>
                      <a:lnTo>
                        <a:pt x="363" y="330"/>
                      </a:lnTo>
                      <a:lnTo>
                        <a:pt x="371" y="331"/>
                      </a:lnTo>
                      <a:lnTo>
                        <a:pt x="377" y="333"/>
                      </a:lnTo>
                      <a:lnTo>
                        <a:pt x="382" y="336"/>
                      </a:lnTo>
                      <a:lnTo>
                        <a:pt x="387" y="340"/>
                      </a:lnTo>
                      <a:lnTo>
                        <a:pt x="391" y="345"/>
                      </a:lnTo>
                      <a:lnTo>
                        <a:pt x="395" y="351"/>
                      </a:lnTo>
                      <a:lnTo>
                        <a:pt x="396" y="357"/>
                      </a:lnTo>
                      <a:lnTo>
                        <a:pt x="397" y="363"/>
                      </a:lnTo>
                      <a:lnTo>
                        <a:pt x="397" y="363"/>
                      </a:lnTo>
                      <a:lnTo>
                        <a:pt x="396" y="370"/>
                      </a:lnTo>
                      <a:lnTo>
                        <a:pt x="395" y="377"/>
                      </a:lnTo>
                      <a:lnTo>
                        <a:pt x="391" y="382"/>
                      </a:lnTo>
                      <a:lnTo>
                        <a:pt x="387" y="387"/>
                      </a:lnTo>
                      <a:lnTo>
                        <a:pt x="382" y="391"/>
                      </a:lnTo>
                      <a:lnTo>
                        <a:pt x="377" y="394"/>
                      </a:lnTo>
                      <a:lnTo>
                        <a:pt x="371" y="395"/>
                      </a:lnTo>
                      <a:lnTo>
                        <a:pt x="363" y="396"/>
                      </a:lnTo>
                      <a:lnTo>
                        <a:pt x="363" y="396"/>
                      </a:lnTo>
                      <a:close/>
                    </a:path>
                  </a:pathLst>
                </a:custGeom>
                <a:solidFill>
                  <a:srgbClr val="01010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43" name="Freeform 8">
                  <a:extLst>
                    <a:ext uri="{FF2B5EF4-FFF2-40B4-BE49-F238E27FC236}">
                      <a16:creationId xmlns:a16="http://schemas.microsoft.com/office/drawing/2014/main" id="{3DBFF15E-E498-44C0-96E4-A04B96E78FB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265613" y="2671763"/>
                  <a:ext cx="68263" cy="68263"/>
                </a:xfrm>
                <a:custGeom>
                  <a:avLst/>
                  <a:gdLst>
                    <a:gd name="T0" fmla="*/ 265 w 298"/>
                    <a:gd name="T1" fmla="*/ 298 h 298"/>
                    <a:gd name="T2" fmla="*/ 33 w 298"/>
                    <a:gd name="T3" fmla="*/ 298 h 298"/>
                    <a:gd name="T4" fmla="*/ 33 w 298"/>
                    <a:gd name="T5" fmla="*/ 298 h 298"/>
                    <a:gd name="T6" fmla="*/ 27 w 298"/>
                    <a:gd name="T7" fmla="*/ 296 h 298"/>
                    <a:gd name="T8" fmla="*/ 21 w 298"/>
                    <a:gd name="T9" fmla="*/ 294 h 298"/>
                    <a:gd name="T10" fmla="*/ 15 w 298"/>
                    <a:gd name="T11" fmla="*/ 291 h 298"/>
                    <a:gd name="T12" fmla="*/ 10 w 298"/>
                    <a:gd name="T13" fmla="*/ 287 h 298"/>
                    <a:gd name="T14" fmla="*/ 6 w 298"/>
                    <a:gd name="T15" fmla="*/ 282 h 298"/>
                    <a:gd name="T16" fmla="*/ 3 w 298"/>
                    <a:gd name="T17" fmla="*/ 277 h 298"/>
                    <a:gd name="T18" fmla="*/ 1 w 298"/>
                    <a:gd name="T19" fmla="*/ 271 h 298"/>
                    <a:gd name="T20" fmla="*/ 0 w 298"/>
                    <a:gd name="T21" fmla="*/ 264 h 298"/>
                    <a:gd name="T22" fmla="*/ 0 w 298"/>
                    <a:gd name="T23" fmla="*/ 33 h 298"/>
                    <a:gd name="T24" fmla="*/ 0 w 298"/>
                    <a:gd name="T25" fmla="*/ 33 h 298"/>
                    <a:gd name="T26" fmla="*/ 1 w 298"/>
                    <a:gd name="T27" fmla="*/ 26 h 298"/>
                    <a:gd name="T28" fmla="*/ 3 w 298"/>
                    <a:gd name="T29" fmla="*/ 20 h 298"/>
                    <a:gd name="T30" fmla="*/ 6 w 298"/>
                    <a:gd name="T31" fmla="*/ 14 h 298"/>
                    <a:gd name="T32" fmla="*/ 10 w 298"/>
                    <a:gd name="T33" fmla="*/ 9 h 298"/>
                    <a:gd name="T34" fmla="*/ 15 w 298"/>
                    <a:gd name="T35" fmla="*/ 6 h 298"/>
                    <a:gd name="T36" fmla="*/ 21 w 298"/>
                    <a:gd name="T37" fmla="*/ 3 h 298"/>
                    <a:gd name="T38" fmla="*/ 27 w 298"/>
                    <a:gd name="T39" fmla="*/ 1 h 298"/>
                    <a:gd name="T40" fmla="*/ 33 w 298"/>
                    <a:gd name="T41" fmla="*/ 0 h 298"/>
                    <a:gd name="T42" fmla="*/ 33 w 298"/>
                    <a:gd name="T43" fmla="*/ 0 h 298"/>
                    <a:gd name="T44" fmla="*/ 40 w 298"/>
                    <a:gd name="T45" fmla="*/ 1 h 298"/>
                    <a:gd name="T46" fmla="*/ 47 w 298"/>
                    <a:gd name="T47" fmla="*/ 3 h 298"/>
                    <a:gd name="T48" fmla="*/ 52 w 298"/>
                    <a:gd name="T49" fmla="*/ 6 h 298"/>
                    <a:gd name="T50" fmla="*/ 57 w 298"/>
                    <a:gd name="T51" fmla="*/ 9 h 298"/>
                    <a:gd name="T52" fmla="*/ 61 w 298"/>
                    <a:gd name="T53" fmla="*/ 14 h 298"/>
                    <a:gd name="T54" fmla="*/ 64 w 298"/>
                    <a:gd name="T55" fmla="*/ 20 h 298"/>
                    <a:gd name="T56" fmla="*/ 66 w 298"/>
                    <a:gd name="T57" fmla="*/ 26 h 298"/>
                    <a:gd name="T58" fmla="*/ 66 w 298"/>
                    <a:gd name="T59" fmla="*/ 33 h 298"/>
                    <a:gd name="T60" fmla="*/ 66 w 298"/>
                    <a:gd name="T61" fmla="*/ 231 h 298"/>
                    <a:gd name="T62" fmla="*/ 265 w 298"/>
                    <a:gd name="T63" fmla="*/ 231 h 298"/>
                    <a:gd name="T64" fmla="*/ 265 w 298"/>
                    <a:gd name="T65" fmla="*/ 231 h 298"/>
                    <a:gd name="T66" fmla="*/ 271 w 298"/>
                    <a:gd name="T67" fmla="*/ 231 h 298"/>
                    <a:gd name="T68" fmla="*/ 277 w 298"/>
                    <a:gd name="T69" fmla="*/ 233 h 298"/>
                    <a:gd name="T70" fmla="*/ 284 w 298"/>
                    <a:gd name="T71" fmla="*/ 236 h 298"/>
                    <a:gd name="T72" fmla="*/ 289 w 298"/>
                    <a:gd name="T73" fmla="*/ 241 h 298"/>
                    <a:gd name="T74" fmla="*/ 292 w 298"/>
                    <a:gd name="T75" fmla="*/ 246 h 298"/>
                    <a:gd name="T76" fmla="*/ 295 w 298"/>
                    <a:gd name="T77" fmla="*/ 251 h 298"/>
                    <a:gd name="T78" fmla="*/ 297 w 298"/>
                    <a:gd name="T79" fmla="*/ 257 h 298"/>
                    <a:gd name="T80" fmla="*/ 298 w 298"/>
                    <a:gd name="T81" fmla="*/ 264 h 298"/>
                    <a:gd name="T82" fmla="*/ 298 w 298"/>
                    <a:gd name="T83" fmla="*/ 264 h 298"/>
                    <a:gd name="T84" fmla="*/ 297 w 298"/>
                    <a:gd name="T85" fmla="*/ 271 h 298"/>
                    <a:gd name="T86" fmla="*/ 295 w 298"/>
                    <a:gd name="T87" fmla="*/ 277 h 298"/>
                    <a:gd name="T88" fmla="*/ 292 w 298"/>
                    <a:gd name="T89" fmla="*/ 282 h 298"/>
                    <a:gd name="T90" fmla="*/ 289 w 298"/>
                    <a:gd name="T91" fmla="*/ 287 h 298"/>
                    <a:gd name="T92" fmla="*/ 284 w 298"/>
                    <a:gd name="T93" fmla="*/ 291 h 298"/>
                    <a:gd name="T94" fmla="*/ 277 w 298"/>
                    <a:gd name="T95" fmla="*/ 294 h 298"/>
                    <a:gd name="T96" fmla="*/ 271 w 298"/>
                    <a:gd name="T97" fmla="*/ 296 h 298"/>
                    <a:gd name="T98" fmla="*/ 265 w 298"/>
                    <a:gd name="T99" fmla="*/ 298 h 298"/>
                    <a:gd name="T100" fmla="*/ 265 w 298"/>
                    <a:gd name="T101" fmla="*/ 298 h 29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</a:cxnLst>
                  <a:rect l="0" t="0" r="r" b="b"/>
                  <a:pathLst>
                    <a:path w="298" h="298">
                      <a:moveTo>
                        <a:pt x="265" y="298"/>
                      </a:moveTo>
                      <a:lnTo>
                        <a:pt x="33" y="298"/>
                      </a:lnTo>
                      <a:lnTo>
                        <a:pt x="33" y="298"/>
                      </a:lnTo>
                      <a:lnTo>
                        <a:pt x="27" y="296"/>
                      </a:lnTo>
                      <a:lnTo>
                        <a:pt x="21" y="294"/>
                      </a:lnTo>
                      <a:lnTo>
                        <a:pt x="15" y="291"/>
                      </a:lnTo>
                      <a:lnTo>
                        <a:pt x="10" y="287"/>
                      </a:lnTo>
                      <a:lnTo>
                        <a:pt x="6" y="282"/>
                      </a:lnTo>
                      <a:lnTo>
                        <a:pt x="3" y="277"/>
                      </a:lnTo>
                      <a:lnTo>
                        <a:pt x="1" y="271"/>
                      </a:lnTo>
                      <a:lnTo>
                        <a:pt x="0" y="264"/>
                      </a:lnTo>
                      <a:lnTo>
                        <a:pt x="0" y="33"/>
                      </a:lnTo>
                      <a:lnTo>
                        <a:pt x="0" y="33"/>
                      </a:lnTo>
                      <a:lnTo>
                        <a:pt x="1" y="26"/>
                      </a:lnTo>
                      <a:lnTo>
                        <a:pt x="3" y="20"/>
                      </a:lnTo>
                      <a:lnTo>
                        <a:pt x="6" y="14"/>
                      </a:lnTo>
                      <a:lnTo>
                        <a:pt x="10" y="9"/>
                      </a:lnTo>
                      <a:lnTo>
                        <a:pt x="15" y="6"/>
                      </a:lnTo>
                      <a:lnTo>
                        <a:pt x="21" y="3"/>
                      </a:lnTo>
                      <a:lnTo>
                        <a:pt x="27" y="1"/>
                      </a:lnTo>
                      <a:lnTo>
                        <a:pt x="33" y="0"/>
                      </a:lnTo>
                      <a:lnTo>
                        <a:pt x="33" y="0"/>
                      </a:lnTo>
                      <a:lnTo>
                        <a:pt x="40" y="1"/>
                      </a:lnTo>
                      <a:lnTo>
                        <a:pt x="47" y="3"/>
                      </a:lnTo>
                      <a:lnTo>
                        <a:pt x="52" y="6"/>
                      </a:lnTo>
                      <a:lnTo>
                        <a:pt x="57" y="9"/>
                      </a:lnTo>
                      <a:lnTo>
                        <a:pt x="61" y="14"/>
                      </a:lnTo>
                      <a:lnTo>
                        <a:pt x="64" y="20"/>
                      </a:lnTo>
                      <a:lnTo>
                        <a:pt x="66" y="26"/>
                      </a:lnTo>
                      <a:lnTo>
                        <a:pt x="66" y="33"/>
                      </a:lnTo>
                      <a:lnTo>
                        <a:pt x="66" y="231"/>
                      </a:lnTo>
                      <a:lnTo>
                        <a:pt x="265" y="231"/>
                      </a:lnTo>
                      <a:lnTo>
                        <a:pt x="265" y="231"/>
                      </a:lnTo>
                      <a:lnTo>
                        <a:pt x="271" y="231"/>
                      </a:lnTo>
                      <a:lnTo>
                        <a:pt x="277" y="233"/>
                      </a:lnTo>
                      <a:lnTo>
                        <a:pt x="284" y="236"/>
                      </a:lnTo>
                      <a:lnTo>
                        <a:pt x="289" y="241"/>
                      </a:lnTo>
                      <a:lnTo>
                        <a:pt x="292" y="246"/>
                      </a:lnTo>
                      <a:lnTo>
                        <a:pt x="295" y="251"/>
                      </a:lnTo>
                      <a:lnTo>
                        <a:pt x="297" y="257"/>
                      </a:lnTo>
                      <a:lnTo>
                        <a:pt x="298" y="264"/>
                      </a:lnTo>
                      <a:lnTo>
                        <a:pt x="298" y="264"/>
                      </a:lnTo>
                      <a:lnTo>
                        <a:pt x="297" y="271"/>
                      </a:lnTo>
                      <a:lnTo>
                        <a:pt x="295" y="277"/>
                      </a:lnTo>
                      <a:lnTo>
                        <a:pt x="292" y="282"/>
                      </a:lnTo>
                      <a:lnTo>
                        <a:pt x="289" y="287"/>
                      </a:lnTo>
                      <a:lnTo>
                        <a:pt x="284" y="291"/>
                      </a:lnTo>
                      <a:lnTo>
                        <a:pt x="277" y="294"/>
                      </a:lnTo>
                      <a:lnTo>
                        <a:pt x="271" y="296"/>
                      </a:lnTo>
                      <a:lnTo>
                        <a:pt x="265" y="298"/>
                      </a:lnTo>
                      <a:lnTo>
                        <a:pt x="265" y="298"/>
                      </a:lnTo>
                      <a:close/>
                    </a:path>
                  </a:pathLst>
                </a:custGeom>
                <a:solidFill>
                  <a:srgbClr val="01010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44" name="Freeform 9">
                  <a:extLst>
                    <a:ext uri="{FF2B5EF4-FFF2-40B4-BE49-F238E27FC236}">
                      <a16:creationId xmlns:a16="http://schemas.microsoft.com/office/drawing/2014/main" id="{37113AAC-B846-4343-B53B-6B33A5D1D69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325938" y="2641600"/>
                  <a:ext cx="38100" cy="38100"/>
                </a:xfrm>
                <a:custGeom>
                  <a:avLst/>
                  <a:gdLst>
                    <a:gd name="T0" fmla="*/ 133 w 166"/>
                    <a:gd name="T1" fmla="*/ 166 h 166"/>
                    <a:gd name="T2" fmla="*/ 33 w 166"/>
                    <a:gd name="T3" fmla="*/ 166 h 166"/>
                    <a:gd name="T4" fmla="*/ 33 w 166"/>
                    <a:gd name="T5" fmla="*/ 166 h 166"/>
                    <a:gd name="T6" fmla="*/ 26 w 166"/>
                    <a:gd name="T7" fmla="*/ 165 h 166"/>
                    <a:gd name="T8" fmla="*/ 20 w 166"/>
                    <a:gd name="T9" fmla="*/ 164 h 166"/>
                    <a:gd name="T10" fmla="*/ 15 w 166"/>
                    <a:gd name="T11" fmla="*/ 160 h 166"/>
                    <a:gd name="T12" fmla="*/ 9 w 166"/>
                    <a:gd name="T13" fmla="*/ 156 h 166"/>
                    <a:gd name="T14" fmla="*/ 5 w 166"/>
                    <a:gd name="T15" fmla="*/ 151 h 166"/>
                    <a:gd name="T16" fmla="*/ 2 w 166"/>
                    <a:gd name="T17" fmla="*/ 146 h 166"/>
                    <a:gd name="T18" fmla="*/ 1 w 166"/>
                    <a:gd name="T19" fmla="*/ 140 h 166"/>
                    <a:gd name="T20" fmla="*/ 0 w 166"/>
                    <a:gd name="T21" fmla="*/ 133 h 166"/>
                    <a:gd name="T22" fmla="*/ 0 w 166"/>
                    <a:gd name="T23" fmla="*/ 33 h 166"/>
                    <a:gd name="T24" fmla="*/ 0 w 166"/>
                    <a:gd name="T25" fmla="*/ 33 h 166"/>
                    <a:gd name="T26" fmla="*/ 1 w 166"/>
                    <a:gd name="T27" fmla="*/ 27 h 166"/>
                    <a:gd name="T28" fmla="*/ 2 w 166"/>
                    <a:gd name="T29" fmla="*/ 21 h 166"/>
                    <a:gd name="T30" fmla="*/ 5 w 166"/>
                    <a:gd name="T31" fmla="*/ 15 h 166"/>
                    <a:gd name="T32" fmla="*/ 9 w 166"/>
                    <a:gd name="T33" fmla="*/ 10 h 166"/>
                    <a:gd name="T34" fmla="*/ 15 w 166"/>
                    <a:gd name="T35" fmla="*/ 6 h 166"/>
                    <a:gd name="T36" fmla="*/ 20 w 166"/>
                    <a:gd name="T37" fmla="*/ 3 h 166"/>
                    <a:gd name="T38" fmla="*/ 26 w 166"/>
                    <a:gd name="T39" fmla="*/ 1 h 166"/>
                    <a:gd name="T40" fmla="*/ 33 w 166"/>
                    <a:gd name="T41" fmla="*/ 0 h 166"/>
                    <a:gd name="T42" fmla="*/ 33 w 166"/>
                    <a:gd name="T43" fmla="*/ 0 h 166"/>
                    <a:gd name="T44" fmla="*/ 39 w 166"/>
                    <a:gd name="T45" fmla="*/ 1 h 166"/>
                    <a:gd name="T46" fmla="*/ 46 w 166"/>
                    <a:gd name="T47" fmla="*/ 3 h 166"/>
                    <a:gd name="T48" fmla="*/ 52 w 166"/>
                    <a:gd name="T49" fmla="*/ 6 h 166"/>
                    <a:gd name="T50" fmla="*/ 56 w 166"/>
                    <a:gd name="T51" fmla="*/ 10 h 166"/>
                    <a:gd name="T52" fmla="*/ 60 w 166"/>
                    <a:gd name="T53" fmla="*/ 15 h 166"/>
                    <a:gd name="T54" fmla="*/ 63 w 166"/>
                    <a:gd name="T55" fmla="*/ 21 h 166"/>
                    <a:gd name="T56" fmla="*/ 65 w 166"/>
                    <a:gd name="T57" fmla="*/ 27 h 166"/>
                    <a:gd name="T58" fmla="*/ 66 w 166"/>
                    <a:gd name="T59" fmla="*/ 33 h 166"/>
                    <a:gd name="T60" fmla="*/ 66 w 166"/>
                    <a:gd name="T61" fmla="*/ 99 h 166"/>
                    <a:gd name="T62" fmla="*/ 133 w 166"/>
                    <a:gd name="T63" fmla="*/ 99 h 166"/>
                    <a:gd name="T64" fmla="*/ 133 w 166"/>
                    <a:gd name="T65" fmla="*/ 99 h 166"/>
                    <a:gd name="T66" fmla="*/ 139 w 166"/>
                    <a:gd name="T67" fmla="*/ 100 h 166"/>
                    <a:gd name="T68" fmla="*/ 145 w 166"/>
                    <a:gd name="T69" fmla="*/ 103 h 166"/>
                    <a:gd name="T70" fmla="*/ 151 w 166"/>
                    <a:gd name="T71" fmla="*/ 106 h 166"/>
                    <a:gd name="T72" fmla="*/ 155 w 166"/>
                    <a:gd name="T73" fmla="*/ 109 h 166"/>
                    <a:gd name="T74" fmla="*/ 159 w 166"/>
                    <a:gd name="T75" fmla="*/ 114 h 166"/>
                    <a:gd name="T76" fmla="*/ 163 w 166"/>
                    <a:gd name="T77" fmla="*/ 120 h 166"/>
                    <a:gd name="T78" fmla="*/ 165 w 166"/>
                    <a:gd name="T79" fmla="*/ 126 h 166"/>
                    <a:gd name="T80" fmla="*/ 166 w 166"/>
                    <a:gd name="T81" fmla="*/ 133 h 166"/>
                    <a:gd name="T82" fmla="*/ 166 w 166"/>
                    <a:gd name="T83" fmla="*/ 133 h 166"/>
                    <a:gd name="T84" fmla="*/ 165 w 166"/>
                    <a:gd name="T85" fmla="*/ 140 h 166"/>
                    <a:gd name="T86" fmla="*/ 163 w 166"/>
                    <a:gd name="T87" fmla="*/ 146 h 166"/>
                    <a:gd name="T88" fmla="*/ 159 w 166"/>
                    <a:gd name="T89" fmla="*/ 151 h 166"/>
                    <a:gd name="T90" fmla="*/ 155 w 166"/>
                    <a:gd name="T91" fmla="*/ 156 h 166"/>
                    <a:gd name="T92" fmla="*/ 151 w 166"/>
                    <a:gd name="T93" fmla="*/ 160 h 166"/>
                    <a:gd name="T94" fmla="*/ 145 w 166"/>
                    <a:gd name="T95" fmla="*/ 164 h 166"/>
                    <a:gd name="T96" fmla="*/ 139 w 166"/>
                    <a:gd name="T97" fmla="*/ 165 h 166"/>
                    <a:gd name="T98" fmla="*/ 133 w 166"/>
                    <a:gd name="T99" fmla="*/ 166 h 166"/>
                    <a:gd name="T100" fmla="*/ 133 w 166"/>
                    <a:gd name="T101" fmla="*/ 166 h 16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</a:cxnLst>
                  <a:rect l="0" t="0" r="r" b="b"/>
                  <a:pathLst>
                    <a:path w="166" h="166">
                      <a:moveTo>
                        <a:pt x="133" y="166"/>
                      </a:moveTo>
                      <a:lnTo>
                        <a:pt x="33" y="166"/>
                      </a:lnTo>
                      <a:lnTo>
                        <a:pt x="33" y="166"/>
                      </a:lnTo>
                      <a:lnTo>
                        <a:pt x="26" y="165"/>
                      </a:lnTo>
                      <a:lnTo>
                        <a:pt x="20" y="164"/>
                      </a:lnTo>
                      <a:lnTo>
                        <a:pt x="15" y="160"/>
                      </a:lnTo>
                      <a:lnTo>
                        <a:pt x="9" y="156"/>
                      </a:lnTo>
                      <a:lnTo>
                        <a:pt x="5" y="151"/>
                      </a:lnTo>
                      <a:lnTo>
                        <a:pt x="2" y="146"/>
                      </a:lnTo>
                      <a:lnTo>
                        <a:pt x="1" y="140"/>
                      </a:lnTo>
                      <a:lnTo>
                        <a:pt x="0" y="133"/>
                      </a:lnTo>
                      <a:lnTo>
                        <a:pt x="0" y="33"/>
                      </a:lnTo>
                      <a:lnTo>
                        <a:pt x="0" y="33"/>
                      </a:lnTo>
                      <a:lnTo>
                        <a:pt x="1" y="27"/>
                      </a:lnTo>
                      <a:lnTo>
                        <a:pt x="2" y="21"/>
                      </a:lnTo>
                      <a:lnTo>
                        <a:pt x="5" y="15"/>
                      </a:lnTo>
                      <a:lnTo>
                        <a:pt x="9" y="10"/>
                      </a:lnTo>
                      <a:lnTo>
                        <a:pt x="15" y="6"/>
                      </a:lnTo>
                      <a:lnTo>
                        <a:pt x="20" y="3"/>
                      </a:lnTo>
                      <a:lnTo>
                        <a:pt x="26" y="1"/>
                      </a:lnTo>
                      <a:lnTo>
                        <a:pt x="33" y="0"/>
                      </a:lnTo>
                      <a:lnTo>
                        <a:pt x="33" y="0"/>
                      </a:lnTo>
                      <a:lnTo>
                        <a:pt x="39" y="1"/>
                      </a:lnTo>
                      <a:lnTo>
                        <a:pt x="46" y="3"/>
                      </a:lnTo>
                      <a:lnTo>
                        <a:pt x="52" y="6"/>
                      </a:lnTo>
                      <a:lnTo>
                        <a:pt x="56" y="10"/>
                      </a:lnTo>
                      <a:lnTo>
                        <a:pt x="60" y="15"/>
                      </a:lnTo>
                      <a:lnTo>
                        <a:pt x="63" y="21"/>
                      </a:lnTo>
                      <a:lnTo>
                        <a:pt x="65" y="27"/>
                      </a:lnTo>
                      <a:lnTo>
                        <a:pt x="66" y="33"/>
                      </a:lnTo>
                      <a:lnTo>
                        <a:pt x="66" y="99"/>
                      </a:lnTo>
                      <a:lnTo>
                        <a:pt x="133" y="99"/>
                      </a:lnTo>
                      <a:lnTo>
                        <a:pt x="133" y="99"/>
                      </a:lnTo>
                      <a:lnTo>
                        <a:pt x="139" y="100"/>
                      </a:lnTo>
                      <a:lnTo>
                        <a:pt x="145" y="103"/>
                      </a:lnTo>
                      <a:lnTo>
                        <a:pt x="151" y="106"/>
                      </a:lnTo>
                      <a:lnTo>
                        <a:pt x="155" y="109"/>
                      </a:lnTo>
                      <a:lnTo>
                        <a:pt x="159" y="114"/>
                      </a:lnTo>
                      <a:lnTo>
                        <a:pt x="163" y="120"/>
                      </a:lnTo>
                      <a:lnTo>
                        <a:pt x="165" y="126"/>
                      </a:lnTo>
                      <a:lnTo>
                        <a:pt x="166" y="133"/>
                      </a:lnTo>
                      <a:lnTo>
                        <a:pt x="166" y="133"/>
                      </a:lnTo>
                      <a:lnTo>
                        <a:pt x="165" y="140"/>
                      </a:lnTo>
                      <a:lnTo>
                        <a:pt x="163" y="146"/>
                      </a:lnTo>
                      <a:lnTo>
                        <a:pt x="159" y="151"/>
                      </a:lnTo>
                      <a:lnTo>
                        <a:pt x="155" y="156"/>
                      </a:lnTo>
                      <a:lnTo>
                        <a:pt x="151" y="160"/>
                      </a:lnTo>
                      <a:lnTo>
                        <a:pt x="145" y="164"/>
                      </a:lnTo>
                      <a:lnTo>
                        <a:pt x="139" y="165"/>
                      </a:lnTo>
                      <a:lnTo>
                        <a:pt x="133" y="166"/>
                      </a:lnTo>
                      <a:lnTo>
                        <a:pt x="133" y="166"/>
                      </a:lnTo>
                      <a:close/>
                    </a:path>
                  </a:pathLst>
                </a:custGeom>
                <a:solidFill>
                  <a:srgbClr val="01010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</p:grpSp>
        </p:grpSp>
      </p:grpSp>
      <p:grpSp>
        <p:nvGrpSpPr>
          <p:cNvPr id="51" name="Group 50">
            <a:extLst>
              <a:ext uri="{FF2B5EF4-FFF2-40B4-BE49-F238E27FC236}">
                <a16:creationId xmlns:a16="http://schemas.microsoft.com/office/drawing/2014/main" id="{78DA6A80-3F9D-4775-8869-BDBE2A2F6476}"/>
              </a:ext>
            </a:extLst>
          </p:cNvPr>
          <p:cNvGrpSpPr/>
          <p:nvPr/>
        </p:nvGrpSpPr>
        <p:grpSpPr>
          <a:xfrm>
            <a:off x="5062178" y="705717"/>
            <a:ext cx="3907918" cy="5109927"/>
            <a:chOff x="6686340" y="698457"/>
            <a:chExt cx="3907918" cy="5109927"/>
          </a:xfrm>
        </p:grpSpPr>
        <p:grpSp>
          <p:nvGrpSpPr>
            <p:cNvPr id="52" name="Group 51">
              <a:extLst>
                <a:ext uri="{FF2B5EF4-FFF2-40B4-BE49-F238E27FC236}">
                  <a16:creationId xmlns:a16="http://schemas.microsoft.com/office/drawing/2014/main" id="{A216A0A0-DF60-4130-B413-FC5C3882F9D7}"/>
                </a:ext>
              </a:extLst>
            </p:cNvPr>
            <p:cNvGrpSpPr/>
            <p:nvPr/>
          </p:nvGrpSpPr>
          <p:grpSpPr>
            <a:xfrm>
              <a:off x="6686340" y="3437135"/>
              <a:ext cx="3907918" cy="2371249"/>
              <a:chOff x="5976991" y="3380572"/>
              <a:chExt cx="3907918" cy="2371249"/>
            </a:xfrm>
          </p:grpSpPr>
          <p:sp>
            <p:nvSpPr>
              <p:cNvPr id="75" name="Rectangle: Rounded Corners 29">
                <a:extLst>
                  <a:ext uri="{FF2B5EF4-FFF2-40B4-BE49-F238E27FC236}">
                    <a16:creationId xmlns:a16="http://schemas.microsoft.com/office/drawing/2014/main" id="{AF7CCDD1-478E-4D0C-8C35-2BAA6BD9D290}"/>
                  </a:ext>
                </a:extLst>
              </p:cNvPr>
              <p:cNvSpPr/>
              <p:nvPr/>
            </p:nvSpPr>
            <p:spPr>
              <a:xfrm>
                <a:off x="5976991" y="3681754"/>
                <a:ext cx="3907918" cy="2070067"/>
              </a:xfrm>
              <a:prstGeom prst="roundRect">
                <a:avLst>
                  <a:gd name="adj" fmla="val 5830"/>
                </a:avLst>
              </a:prstGeom>
              <a:solidFill>
                <a:schemeClr val="accent1">
                  <a:lumMod val="20000"/>
                  <a:lumOff val="8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D"/>
              </a:p>
            </p:txBody>
          </p:sp>
          <p:sp>
            <p:nvSpPr>
              <p:cNvPr id="76" name="Rectangle: Rounded Corners 32">
                <a:extLst>
                  <a:ext uri="{FF2B5EF4-FFF2-40B4-BE49-F238E27FC236}">
                    <a16:creationId xmlns:a16="http://schemas.microsoft.com/office/drawing/2014/main" id="{EDED1F79-0879-487B-AF55-71A1BE32D254}"/>
                  </a:ext>
                </a:extLst>
              </p:cNvPr>
              <p:cNvSpPr/>
              <p:nvPr/>
            </p:nvSpPr>
            <p:spPr>
              <a:xfrm>
                <a:off x="6259308" y="3380572"/>
                <a:ext cx="665326" cy="665326"/>
              </a:xfrm>
              <a:prstGeom prst="roundRect">
                <a:avLst>
                  <a:gd name="adj" fmla="val 10785"/>
                </a:avLst>
              </a:prstGeom>
              <a:solidFill>
                <a:schemeClr val="bg1"/>
              </a:solidFill>
              <a:ln>
                <a:noFill/>
              </a:ln>
              <a:effectLst>
                <a:outerShdw blurRad="177800" dist="152400" dir="5400000" algn="t" rotWithShape="0">
                  <a:prstClr val="black">
                    <a:alpha val="8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grpSp>
            <p:nvGrpSpPr>
              <p:cNvPr id="77" name="Group 76">
                <a:extLst>
                  <a:ext uri="{FF2B5EF4-FFF2-40B4-BE49-F238E27FC236}">
                    <a16:creationId xmlns:a16="http://schemas.microsoft.com/office/drawing/2014/main" id="{588AB387-775D-4AC2-A2AB-8C310251410E}"/>
                  </a:ext>
                </a:extLst>
              </p:cNvPr>
              <p:cNvGrpSpPr/>
              <p:nvPr/>
            </p:nvGrpSpPr>
            <p:grpSpPr>
              <a:xfrm>
                <a:off x="6258447" y="4294451"/>
                <a:ext cx="3314119" cy="975443"/>
                <a:chOff x="1694985" y="4094325"/>
                <a:chExt cx="3314119" cy="975443"/>
              </a:xfrm>
            </p:grpSpPr>
            <p:sp>
              <p:nvSpPr>
                <p:cNvPr id="83" name="TextBox 82">
                  <a:extLst>
                    <a:ext uri="{FF2B5EF4-FFF2-40B4-BE49-F238E27FC236}">
                      <a16:creationId xmlns:a16="http://schemas.microsoft.com/office/drawing/2014/main" id="{D7BF94E0-75FB-41C5-85D1-DC2E14AEFEFA}"/>
                    </a:ext>
                  </a:extLst>
                </p:cNvPr>
                <p:cNvSpPr txBox="1"/>
                <p:nvPr/>
              </p:nvSpPr>
              <p:spPr>
                <a:xfrm>
                  <a:off x="1694985" y="4515770"/>
                  <a:ext cx="3314118" cy="553998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spAutoFit/>
                </a:bodyPr>
                <a:lstStyle/>
                <a:p>
                  <a:r>
                    <a:rPr lang="en-US" sz="1200" dirty="0" smtClean="0">
                      <a:solidFill>
                        <a:schemeClr val="bg2">
                          <a:lumMod val="50000"/>
                        </a:schemeClr>
                      </a:solidFill>
                    </a:rPr>
                    <a:t>The UI currently has no progress indication or easy way to visualize dataset uploaded this and many other features can also be added</a:t>
                  </a:r>
                  <a:endParaRPr lang="en-US" sz="1200" dirty="0">
                    <a:solidFill>
                      <a:schemeClr val="bg2">
                        <a:lumMod val="50000"/>
                      </a:schemeClr>
                    </a:solidFill>
                  </a:endParaRPr>
                </a:p>
              </p:txBody>
            </p:sp>
            <p:sp>
              <p:nvSpPr>
                <p:cNvPr id="84" name="TextBox 83">
                  <a:extLst>
                    <a:ext uri="{FF2B5EF4-FFF2-40B4-BE49-F238E27FC236}">
                      <a16:creationId xmlns:a16="http://schemas.microsoft.com/office/drawing/2014/main" id="{F2DC1DAA-8079-45BD-98C1-EFA620154CC1}"/>
                    </a:ext>
                  </a:extLst>
                </p:cNvPr>
                <p:cNvSpPr txBox="1"/>
                <p:nvPr/>
              </p:nvSpPr>
              <p:spPr>
                <a:xfrm>
                  <a:off x="1694986" y="4094325"/>
                  <a:ext cx="3314118" cy="276999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spAutoFit/>
                </a:bodyPr>
                <a:lstStyle/>
                <a:p>
                  <a:r>
                    <a:rPr lang="en-US" b="1" dirty="0" smtClean="0">
                      <a:solidFill>
                        <a:schemeClr val="bg2">
                          <a:lumMod val="25000"/>
                        </a:schemeClr>
                      </a:solidFill>
                    </a:rPr>
                    <a:t>Informative UI</a:t>
                  </a:r>
                  <a:endParaRPr lang="en-US" b="1" dirty="0">
                    <a:solidFill>
                      <a:schemeClr val="bg2">
                        <a:lumMod val="25000"/>
                      </a:schemeClr>
                    </a:solidFill>
                  </a:endParaRPr>
                </a:p>
              </p:txBody>
            </p:sp>
          </p:grpSp>
        </p:grpSp>
        <p:grpSp>
          <p:nvGrpSpPr>
            <p:cNvPr id="53" name="Group 52">
              <a:extLst>
                <a:ext uri="{FF2B5EF4-FFF2-40B4-BE49-F238E27FC236}">
                  <a16:creationId xmlns:a16="http://schemas.microsoft.com/office/drawing/2014/main" id="{95913E24-2376-4C9F-B666-084D9C2C4F39}"/>
                </a:ext>
              </a:extLst>
            </p:cNvPr>
            <p:cNvGrpSpPr/>
            <p:nvPr/>
          </p:nvGrpSpPr>
          <p:grpSpPr>
            <a:xfrm>
              <a:off x="6686340" y="698457"/>
              <a:ext cx="3907918" cy="2402730"/>
              <a:chOff x="6686340" y="698457"/>
              <a:chExt cx="3907918" cy="2402730"/>
            </a:xfrm>
          </p:grpSpPr>
          <p:sp>
            <p:nvSpPr>
              <p:cNvPr id="54" name="Rectangle: Rounded Corners 60">
                <a:extLst>
                  <a:ext uri="{FF2B5EF4-FFF2-40B4-BE49-F238E27FC236}">
                    <a16:creationId xmlns:a16="http://schemas.microsoft.com/office/drawing/2014/main" id="{FAE8763B-D1F7-4127-AF2F-365B1C56CFEF}"/>
                  </a:ext>
                </a:extLst>
              </p:cNvPr>
              <p:cNvSpPr/>
              <p:nvPr/>
            </p:nvSpPr>
            <p:spPr>
              <a:xfrm>
                <a:off x="6686340" y="1031120"/>
                <a:ext cx="3907918" cy="2070067"/>
              </a:xfrm>
              <a:prstGeom prst="roundRect">
                <a:avLst>
                  <a:gd name="adj" fmla="val 5830"/>
                </a:avLst>
              </a:prstGeom>
              <a:solidFill>
                <a:schemeClr val="accent1">
                  <a:lumMod val="20000"/>
                  <a:lumOff val="8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D"/>
              </a:p>
            </p:txBody>
          </p:sp>
          <p:sp>
            <p:nvSpPr>
              <p:cNvPr id="56" name="Rectangle: Rounded Corners 61">
                <a:extLst>
                  <a:ext uri="{FF2B5EF4-FFF2-40B4-BE49-F238E27FC236}">
                    <a16:creationId xmlns:a16="http://schemas.microsoft.com/office/drawing/2014/main" id="{EB17FB32-78C1-4BCF-907B-5471F30DE5EC}"/>
                  </a:ext>
                </a:extLst>
              </p:cNvPr>
              <p:cNvSpPr/>
              <p:nvPr/>
            </p:nvSpPr>
            <p:spPr>
              <a:xfrm>
                <a:off x="6968657" y="698457"/>
                <a:ext cx="665326" cy="665326"/>
              </a:xfrm>
              <a:prstGeom prst="roundRect">
                <a:avLst>
                  <a:gd name="adj" fmla="val 10785"/>
                </a:avLst>
              </a:prstGeom>
              <a:solidFill>
                <a:schemeClr val="bg1"/>
              </a:solidFill>
              <a:ln>
                <a:noFill/>
              </a:ln>
              <a:effectLst>
                <a:outerShdw blurRad="177800" dist="152400" dir="5400000" algn="t" rotWithShape="0">
                  <a:prstClr val="black">
                    <a:alpha val="8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grpSp>
            <p:nvGrpSpPr>
              <p:cNvPr id="57" name="Group 56">
                <a:extLst>
                  <a:ext uri="{FF2B5EF4-FFF2-40B4-BE49-F238E27FC236}">
                    <a16:creationId xmlns:a16="http://schemas.microsoft.com/office/drawing/2014/main" id="{E870D5DD-ABA8-4F9F-A893-C801A941BB9E}"/>
                  </a:ext>
                </a:extLst>
              </p:cNvPr>
              <p:cNvGrpSpPr/>
              <p:nvPr/>
            </p:nvGrpSpPr>
            <p:grpSpPr>
              <a:xfrm>
                <a:off x="6967796" y="1643817"/>
                <a:ext cx="3314119" cy="1160109"/>
                <a:chOff x="1694985" y="4094325"/>
                <a:chExt cx="3314119" cy="1160109"/>
              </a:xfrm>
            </p:grpSpPr>
            <p:sp>
              <p:nvSpPr>
                <p:cNvPr id="68" name="TextBox 67">
                  <a:extLst>
                    <a:ext uri="{FF2B5EF4-FFF2-40B4-BE49-F238E27FC236}">
                      <a16:creationId xmlns:a16="http://schemas.microsoft.com/office/drawing/2014/main" id="{0DF03256-45DE-4734-8953-5D16C754F01C}"/>
                    </a:ext>
                  </a:extLst>
                </p:cNvPr>
                <p:cNvSpPr txBox="1"/>
                <p:nvPr/>
              </p:nvSpPr>
              <p:spPr>
                <a:xfrm>
                  <a:off x="1694985" y="4515770"/>
                  <a:ext cx="3314118" cy="738664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spAutoFit/>
                </a:bodyPr>
                <a:lstStyle/>
                <a:p>
                  <a:r>
                    <a:rPr lang="en-US" sz="1200" dirty="0" smtClean="0">
                      <a:solidFill>
                        <a:schemeClr val="bg2">
                          <a:lumMod val="50000"/>
                        </a:schemeClr>
                      </a:solidFill>
                    </a:rPr>
                    <a:t>Deploy the application on the internet using a hosting service and several virtual machines. This will enable the user to access the system from anywhere in the world</a:t>
                  </a:r>
                  <a:endParaRPr lang="en-US" sz="1200" dirty="0">
                    <a:solidFill>
                      <a:schemeClr val="bg2">
                        <a:lumMod val="50000"/>
                      </a:schemeClr>
                    </a:solidFill>
                  </a:endParaRPr>
                </a:p>
              </p:txBody>
            </p:sp>
            <p:sp>
              <p:nvSpPr>
                <p:cNvPr id="73" name="TextBox 72">
                  <a:extLst>
                    <a:ext uri="{FF2B5EF4-FFF2-40B4-BE49-F238E27FC236}">
                      <a16:creationId xmlns:a16="http://schemas.microsoft.com/office/drawing/2014/main" id="{AC93C14F-1AE9-4E95-92DA-082C3345DB2E}"/>
                    </a:ext>
                  </a:extLst>
                </p:cNvPr>
                <p:cNvSpPr txBox="1"/>
                <p:nvPr/>
              </p:nvSpPr>
              <p:spPr>
                <a:xfrm>
                  <a:off x="1694986" y="4094325"/>
                  <a:ext cx="3314118" cy="276999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spAutoFit/>
                </a:bodyPr>
                <a:lstStyle/>
                <a:p>
                  <a:r>
                    <a:rPr lang="en-US" b="1" dirty="0" smtClean="0">
                      <a:solidFill>
                        <a:schemeClr val="bg2">
                          <a:lumMod val="25000"/>
                        </a:schemeClr>
                      </a:solidFill>
                    </a:rPr>
                    <a:t>Worldwide Access</a:t>
                  </a:r>
                  <a:endParaRPr lang="en-US" b="1" dirty="0">
                    <a:solidFill>
                      <a:schemeClr val="bg2">
                        <a:lumMod val="25000"/>
                      </a:schemeClr>
                    </a:solidFill>
                  </a:endParaRPr>
                </a:p>
              </p:txBody>
            </p:sp>
          </p:grpSp>
        </p:grpSp>
      </p:grpSp>
      <p:grpSp>
        <p:nvGrpSpPr>
          <p:cNvPr id="96" name="Group 95">
            <a:extLst>
              <a:ext uri="{FF2B5EF4-FFF2-40B4-BE49-F238E27FC236}">
                <a16:creationId xmlns:a16="http://schemas.microsoft.com/office/drawing/2014/main" id="{5E128AE2-A724-4362-A5BC-78883ED3AABB}"/>
              </a:ext>
            </a:extLst>
          </p:cNvPr>
          <p:cNvGrpSpPr/>
          <p:nvPr/>
        </p:nvGrpSpPr>
        <p:grpSpPr>
          <a:xfrm>
            <a:off x="5496976" y="865426"/>
            <a:ext cx="360363" cy="360362"/>
            <a:chOff x="6994525" y="2528888"/>
            <a:chExt cx="360363" cy="360362"/>
          </a:xfrm>
        </p:grpSpPr>
        <p:sp>
          <p:nvSpPr>
            <p:cNvPr id="97" name="Freeform 54">
              <a:extLst>
                <a:ext uri="{FF2B5EF4-FFF2-40B4-BE49-F238E27FC236}">
                  <a16:creationId xmlns:a16="http://schemas.microsoft.com/office/drawing/2014/main" id="{930215F8-F8C4-4ADB-A918-47641F77F082}"/>
                </a:ext>
              </a:extLst>
            </p:cNvPr>
            <p:cNvSpPr>
              <a:spLocks/>
            </p:cNvSpPr>
            <p:nvPr/>
          </p:nvSpPr>
          <p:spPr bwMode="auto">
            <a:xfrm>
              <a:off x="7159625" y="2724150"/>
              <a:ext cx="15875" cy="165100"/>
            </a:xfrm>
            <a:custGeom>
              <a:avLst/>
              <a:gdLst>
                <a:gd name="T0" fmla="*/ 33 w 66"/>
                <a:gd name="T1" fmla="*/ 727 h 727"/>
                <a:gd name="T2" fmla="*/ 33 w 66"/>
                <a:gd name="T3" fmla="*/ 727 h 727"/>
                <a:gd name="T4" fmla="*/ 27 w 66"/>
                <a:gd name="T5" fmla="*/ 727 h 727"/>
                <a:gd name="T6" fmla="*/ 21 w 66"/>
                <a:gd name="T7" fmla="*/ 725 h 727"/>
                <a:gd name="T8" fmla="*/ 15 w 66"/>
                <a:gd name="T9" fmla="*/ 721 h 727"/>
                <a:gd name="T10" fmla="*/ 9 w 66"/>
                <a:gd name="T11" fmla="*/ 717 h 727"/>
                <a:gd name="T12" fmla="*/ 6 w 66"/>
                <a:gd name="T13" fmla="*/ 712 h 727"/>
                <a:gd name="T14" fmla="*/ 3 w 66"/>
                <a:gd name="T15" fmla="*/ 707 h 727"/>
                <a:gd name="T16" fmla="*/ 1 w 66"/>
                <a:gd name="T17" fmla="*/ 701 h 727"/>
                <a:gd name="T18" fmla="*/ 0 w 66"/>
                <a:gd name="T19" fmla="*/ 695 h 727"/>
                <a:gd name="T20" fmla="*/ 0 w 66"/>
                <a:gd name="T21" fmla="*/ 33 h 727"/>
                <a:gd name="T22" fmla="*/ 0 w 66"/>
                <a:gd name="T23" fmla="*/ 33 h 727"/>
                <a:gd name="T24" fmla="*/ 1 w 66"/>
                <a:gd name="T25" fmla="*/ 26 h 727"/>
                <a:gd name="T26" fmla="*/ 3 w 66"/>
                <a:gd name="T27" fmla="*/ 20 h 727"/>
                <a:gd name="T28" fmla="*/ 6 w 66"/>
                <a:gd name="T29" fmla="*/ 15 h 727"/>
                <a:gd name="T30" fmla="*/ 9 w 66"/>
                <a:gd name="T31" fmla="*/ 10 h 727"/>
                <a:gd name="T32" fmla="*/ 15 w 66"/>
                <a:gd name="T33" fmla="*/ 5 h 727"/>
                <a:gd name="T34" fmla="*/ 21 w 66"/>
                <a:gd name="T35" fmla="*/ 2 h 727"/>
                <a:gd name="T36" fmla="*/ 27 w 66"/>
                <a:gd name="T37" fmla="*/ 0 h 727"/>
                <a:gd name="T38" fmla="*/ 33 w 66"/>
                <a:gd name="T39" fmla="*/ 0 h 727"/>
                <a:gd name="T40" fmla="*/ 33 w 66"/>
                <a:gd name="T41" fmla="*/ 0 h 727"/>
                <a:gd name="T42" fmla="*/ 39 w 66"/>
                <a:gd name="T43" fmla="*/ 0 h 727"/>
                <a:gd name="T44" fmla="*/ 46 w 66"/>
                <a:gd name="T45" fmla="*/ 2 h 727"/>
                <a:gd name="T46" fmla="*/ 52 w 66"/>
                <a:gd name="T47" fmla="*/ 5 h 727"/>
                <a:gd name="T48" fmla="*/ 57 w 66"/>
                <a:gd name="T49" fmla="*/ 10 h 727"/>
                <a:gd name="T50" fmla="*/ 61 w 66"/>
                <a:gd name="T51" fmla="*/ 15 h 727"/>
                <a:gd name="T52" fmla="*/ 63 w 66"/>
                <a:gd name="T53" fmla="*/ 20 h 727"/>
                <a:gd name="T54" fmla="*/ 65 w 66"/>
                <a:gd name="T55" fmla="*/ 26 h 727"/>
                <a:gd name="T56" fmla="*/ 66 w 66"/>
                <a:gd name="T57" fmla="*/ 33 h 727"/>
                <a:gd name="T58" fmla="*/ 66 w 66"/>
                <a:gd name="T59" fmla="*/ 695 h 727"/>
                <a:gd name="T60" fmla="*/ 66 w 66"/>
                <a:gd name="T61" fmla="*/ 695 h 727"/>
                <a:gd name="T62" fmla="*/ 65 w 66"/>
                <a:gd name="T63" fmla="*/ 701 h 727"/>
                <a:gd name="T64" fmla="*/ 63 w 66"/>
                <a:gd name="T65" fmla="*/ 707 h 727"/>
                <a:gd name="T66" fmla="*/ 61 w 66"/>
                <a:gd name="T67" fmla="*/ 712 h 727"/>
                <a:gd name="T68" fmla="*/ 57 w 66"/>
                <a:gd name="T69" fmla="*/ 717 h 727"/>
                <a:gd name="T70" fmla="*/ 52 w 66"/>
                <a:gd name="T71" fmla="*/ 721 h 727"/>
                <a:gd name="T72" fmla="*/ 46 w 66"/>
                <a:gd name="T73" fmla="*/ 725 h 727"/>
                <a:gd name="T74" fmla="*/ 39 w 66"/>
                <a:gd name="T75" fmla="*/ 727 h 727"/>
                <a:gd name="T76" fmla="*/ 33 w 66"/>
                <a:gd name="T77" fmla="*/ 727 h 727"/>
                <a:gd name="T78" fmla="*/ 33 w 66"/>
                <a:gd name="T79" fmla="*/ 727 h 7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66" h="727">
                  <a:moveTo>
                    <a:pt x="33" y="727"/>
                  </a:moveTo>
                  <a:lnTo>
                    <a:pt x="33" y="727"/>
                  </a:lnTo>
                  <a:lnTo>
                    <a:pt x="27" y="727"/>
                  </a:lnTo>
                  <a:lnTo>
                    <a:pt x="21" y="725"/>
                  </a:lnTo>
                  <a:lnTo>
                    <a:pt x="15" y="721"/>
                  </a:lnTo>
                  <a:lnTo>
                    <a:pt x="9" y="717"/>
                  </a:lnTo>
                  <a:lnTo>
                    <a:pt x="6" y="712"/>
                  </a:lnTo>
                  <a:lnTo>
                    <a:pt x="3" y="707"/>
                  </a:lnTo>
                  <a:lnTo>
                    <a:pt x="1" y="701"/>
                  </a:lnTo>
                  <a:lnTo>
                    <a:pt x="0" y="695"/>
                  </a:lnTo>
                  <a:lnTo>
                    <a:pt x="0" y="33"/>
                  </a:lnTo>
                  <a:lnTo>
                    <a:pt x="0" y="33"/>
                  </a:lnTo>
                  <a:lnTo>
                    <a:pt x="1" y="26"/>
                  </a:lnTo>
                  <a:lnTo>
                    <a:pt x="3" y="20"/>
                  </a:lnTo>
                  <a:lnTo>
                    <a:pt x="6" y="15"/>
                  </a:lnTo>
                  <a:lnTo>
                    <a:pt x="9" y="10"/>
                  </a:lnTo>
                  <a:lnTo>
                    <a:pt x="15" y="5"/>
                  </a:lnTo>
                  <a:lnTo>
                    <a:pt x="21" y="2"/>
                  </a:lnTo>
                  <a:lnTo>
                    <a:pt x="27" y="0"/>
                  </a:lnTo>
                  <a:lnTo>
                    <a:pt x="33" y="0"/>
                  </a:lnTo>
                  <a:lnTo>
                    <a:pt x="33" y="0"/>
                  </a:lnTo>
                  <a:lnTo>
                    <a:pt x="39" y="0"/>
                  </a:lnTo>
                  <a:lnTo>
                    <a:pt x="46" y="2"/>
                  </a:lnTo>
                  <a:lnTo>
                    <a:pt x="52" y="5"/>
                  </a:lnTo>
                  <a:lnTo>
                    <a:pt x="57" y="10"/>
                  </a:lnTo>
                  <a:lnTo>
                    <a:pt x="61" y="15"/>
                  </a:lnTo>
                  <a:lnTo>
                    <a:pt x="63" y="20"/>
                  </a:lnTo>
                  <a:lnTo>
                    <a:pt x="65" y="26"/>
                  </a:lnTo>
                  <a:lnTo>
                    <a:pt x="66" y="33"/>
                  </a:lnTo>
                  <a:lnTo>
                    <a:pt x="66" y="695"/>
                  </a:lnTo>
                  <a:lnTo>
                    <a:pt x="66" y="695"/>
                  </a:lnTo>
                  <a:lnTo>
                    <a:pt x="65" y="701"/>
                  </a:lnTo>
                  <a:lnTo>
                    <a:pt x="63" y="707"/>
                  </a:lnTo>
                  <a:lnTo>
                    <a:pt x="61" y="712"/>
                  </a:lnTo>
                  <a:lnTo>
                    <a:pt x="57" y="717"/>
                  </a:lnTo>
                  <a:lnTo>
                    <a:pt x="52" y="721"/>
                  </a:lnTo>
                  <a:lnTo>
                    <a:pt x="46" y="725"/>
                  </a:lnTo>
                  <a:lnTo>
                    <a:pt x="39" y="727"/>
                  </a:lnTo>
                  <a:lnTo>
                    <a:pt x="33" y="727"/>
                  </a:lnTo>
                  <a:lnTo>
                    <a:pt x="33" y="727"/>
                  </a:lnTo>
                  <a:close/>
                </a:path>
              </a:pathLst>
            </a:custGeom>
            <a:solidFill>
              <a:srgbClr val="01010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8" name="Freeform 55">
              <a:extLst>
                <a:ext uri="{FF2B5EF4-FFF2-40B4-BE49-F238E27FC236}">
                  <a16:creationId xmlns:a16="http://schemas.microsoft.com/office/drawing/2014/main" id="{2C45F6C7-9878-4A3F-8F1C-E85375E86E0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994525" y="2528888"/>
              <a:ext cx="360363" cy="211138"/>
            </a:xfrm>
            <a:custGeom>
              <a:avLst/>
              <a:gdLst>
                <a:gd name="T0" fmla="*/ 1199 w 1587"/>
                <a:gd name="T1" fmla="*/ 912 h 927"/>
                <a:gd name="T2" fmla="*/ 1094 w 1587"/>
                <a:gd name="T3" fmla="*/ 853 h 927"/>
                <a:gd name="T4" fmla="*/ 1000 w 1587"/>
                <a:gd name="T5" fmla="*/ 876 h 927"/>
                <a:gd name="T6" fmla="*/ 756 w 1587"/>
                <a:gd name="T7" fmla="*/ 923 h 927"/>
                <a:gd name="T8" fmla="*/ 579 w 1587"/>
                <a:gd name="T9" fmla="*/ 874 h 927"/>
                <a:gd name="T10" fmla="*/ 417 w 1587"/>
                <a:gd name="T11" fmla="*/ 922 h 927"/>
                <a:gd name="T12" fmla="*/ 273 w 1587"/>
                <a:gd name="T13" fmla="*/ 914 h 927"/>
                <a:gd name="T14" fmla="*/ 146 w 1587"/>
                <a:gd name="T15" fmla="*/ 854 h 927"/>
                <a:gd name="T16" fmla="*/ 52 w 1587"/>
                <a:gd name="T17" fmla="*/ 751 h 927"/>
                <a:gd name="T18" fmla="*/ 4 w 1587"/>
                <a:gd name="T19" fmla="*/ 618 h 927"/>
                <a:gd name="T20" fmla="*/ 9 w 1587"/>
                <a:gd name="T21" fmla="*/ 484 h 927"/>
                <a:gd name="T22" fmla="*/ 72 w 1587"/>
                <a:gd name="T23" fmla="*/ 346 h 927"/>
                <a:gd name="T24" fmla="*/ 184 w 1587"/>
                <a:gd name="T25" fmla="*/ 246 h 927"/>
                <a:gd name="T26" fmla="*/ 330 w 1587"/>
                <a:gd name="T27" fmla="*/ 200 h 927"/>
                <a:gd name="T28" fmla="*/ 466 w 1587"/>
                <a:gd name="T29" fmla="*/ 137 h 927"/>
                <a:gd name="T30" fmla="*/ 654 w 1587"/>
                <a:gd name="T31" fmla="*/ 22 h 927"/>
                <a:gd name="T32" fmla="*/ 832 w 1587"/>
                <a:gd name="T33" fmla="*/ 3 h 927"/>
                <a:gd name="T34" fmla="*/ 976 w 1587"/>
                <a:gd name="T35" fmla="*/ 39 h 927"/>
                <a:gd name="T36" fmla="*/ 1101 w 1587"/>
                <a:gd name="T37" fmla="*/ 118 h 927"/>
                <a:gd name="T38" fmla="*/ 1194 w 1587"/>
                <a:gd name="T39" fmla="*/ 232 h 927"/>
                <a:gd name="T40" fmla="*/ 1263 w 1587"/>
                <a:gd name="T41" fmla="*/ 333 h 927"/>
                <a:gd name="T42" fmla="*/ 1378 w 1587"/>
                <a:gd name="T43" fmla="*/ 345 h 927"/>
                <a:gd name="T44" fmla="*/ 1478 w 1587"/>
                <a:gd name="T45" fmla="*/ 399 h 927"/>
                <a:gd name="T46" fmla="*/ 1551 w 1587"/>
                <a:gd name="T47" fmla="*/ 487 h 927"/>
                <a:gd name="T48" fmla="*/ 1585 w 1587"/>
                <a:gd name="T49" fmla="*/ 599 h 927"/>
                <a:gd name="T50" fmla="*/ 1578 w 1587"/>
                <a:gd name="T51" fmla="*/ 703 h 927"/>
                <a:gd name="T52" fmla="*/ 1527 w 1587"/>
                <a:gd name="T53" fmla="*/ 806 h 927"/>
                <a:gd name="T54" fmla="*/ 1443 w 1587"/>
                <a:gd name="T55" fmla="*/ 883 h 927"/>
                <a:gd name="T56" fmla="*/ 1335 w 1587"/>
                <a:gd name="T57" fmla="*/ 922 h 927"/>
                <a:gd name="T58" fmla="*/ 1080 w 1587"/>
                <a:gd name="T59" fmla="*/ 753 h 927"/>
                <a:gd name="T60" fmla="*/ 1131 w 1587"/>
                <a:gd name="T61" fmla="*/ 797 h 927"/>
                <a:gd name="T62" fmla="*/ 1222 w 1587"/>
                <a:gd name="T63" fmla="*/ 850 h 927"/>
                <a:gd name="T64" fmla="*/ 1336 w 1587"/>
                <a:gd name="T65" fmla="*/ 855 h 927"/>
                <a:gd name="T66" fmla="*/ 1480 w 1587"/>
                <a:gd name="T67" fmla="*/ 758 h 927"/>
                <a:gd name="T68" fmla="*/ 1520 w 1587"/>
                <a:gd name="T69" fmla="*/ 605 h 927"/>
                <a:gd name="T70" fmla="*/ 1436 w 1587"/>
                <a:gd name="T71" fmla="*/ 451 h 927"/>
                <a:gd name="T72" fmla="*/ 1289 w 1587"/>
                <a:gd name="T73" fmla="*/ 397 h 927"/>
                <a:gd name="T74" fmla="*/ 1203 w 1587"/>
                <a:gd name="T75" fmla="*/ 406 h 927"/>
                <a:gd name="T76" fmla="*/ 1177 w 1587"/>
                <a:gd name="T77" fmla="*/ 365 h 927"/>
                <a:gd name="T78" fmla="*/ 1122 w 1587"/>
                <a:gd name="T79" fmla="*/ 242 h 927"/>
                <a:gd name="T80" fmla="*/ 1030 w 1587"/>
                <a:gd name="T81" fmla="*/ 145 h 927"/>
                <a:gd name="T82" fmla="*/ 911 w 1587"/>
                <a:gd name="T83" fmla="*/ 85 h 927"/>
                <a:gd name="T84" fmla="*/ 793 w 1587"/>
                <a:gd name="T85" fmla="*/ 67 h 927"/>
                <a:gd name="T86" fmla="*/ 600 w 1587"/>
                <a:gd name="T87" fmla="*/ 116 h 927"/>
                <a:gd name="T88" fmla="*/ 456 w 1587"/>
                <a:gd name="T89" fmla="*/ 256 h 927"/>
                <a:gd name="T90" fmla="*/ 426 w 1587"/>
                <a:gd name="T91" fmla="*/ 272 h 927"/>
                <a:gd name="T92" fmla="*/ 317 w 1587"/>
                <a:gd name="T93" fmla="*/ 268 h 927"/>
                <a:gd name="T94" fmla="*/ 197 w 1587"/>
                <a:gd name="T95" fmla="*/ 315 h 927"/>
                <a:gd name="T96" fmla="*/ 110 w 1587"/>
                <a:gd name="T97" fmla="*/ 406 h 927"/>
                <a:gd name="T98" fmla="*/ 68 w 1587"/>
                <a:gd name="T99" fmla="*/ 529 h 927"/>
                <a:gd name="T100" fmla="*/ 75 w 1587"/>
                <a:gd name="T101" fmla="*/ 637 h 927"/>
                <a:gd name="T102" fmla="*/ 125 w 1587"/>
                <a:gd name="T103" fmla="*/ 740 h 927"/>
                <a:gd name="T104" fmla="*/ 210 w 1587"/>
                <a:gd name="T105" fmla="*/ 817 h 927"/>
                <a:gd name="T106" fmla="*/ 318 w 1587"/>
                <a:gd name="T107" fmla="*/ 856 h 927"/>
                <a:gd name="T108" fmla="*/ 458 w 1587"/>
                <a:gd name="T109" fmla="*/ 845 h 927"/>
                <a:gd name="T110" fmla="*/ 556 w 1587"/>
                <a:gd name="T111" fmla="*/ 793 h 927"/>
                <a:gd name="T112" fmla="*/ 608 w 1587"/>
                <a:gd name="T113" fmla="*/ 814 h 927"/>
                <a:gd name="T114" fmla="*/ 729 w 1587"/>
                <a:gd name="T115" fmla="*/ 853 h 927"/>
                <a:gd name="T116" fmla="*/ 946 w 1587"/>
                <a:gd name="T117" fmla="*/ 828 h 927"/>
                <a:gd name="T118" fmla="*/ 1055 w 1587"/>
                <a:gd name="T119" fmla="*/ 761 h 9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587" h="927">
                  <a:moveTo>
                    <a:pt x="1289" y="927"/>
                  </a:moveTo>
                  <a:lnTo>
                    <a:pt x="1289" y="927"/>
                  </a:lnTo>
                  <a:lnTo>
                    <a:pt x="1273" y="925"/>
                  </a:lnTo>
                  <a:lnTo>
                    <a:pt x="1258" y="924"/>
                  </a:lnTo>
                  <a:lnTo>
                    <a:pt x="1243" y="922"/>
                  </a:lnTo>
                  <a:lnTo>
                    <a:pt x="1228" y="920"/>
                  </a:lnTo>
                  <a:lnTo>
                    <a:pt x="1213" y="916"/>
                  </a:lnTo>
                  <a:lnTo>
                    <a:pt x="1199" y="912"/>
                  </a:lnTo>
                  <a:lnTo>
                    <a:pt x="1184" y="907"/>
                  </a:lnTo>
                  <a:lnTo>
                    <a:pt x="1170" y="902"/>
                  </a:lnTo>
                  <a:lnTo>
                    <a:pt x="1157" y="895"/>
                  </a:lnTo>
                  <a:lnTo>
                    <a:pt x="1143" y="888"/>
                  </a:lnTo>
                  <a:lnTo>
                    <a:pt x="1131" y="881"/>
                  </a:lnTo>
                  <a:lnTo>
                    <a:pt x="1118" y="872"/>
                  </a:lnTo>
                  <a:lnTo>
                    <a:pt x="1106" y="863"/>
                  </a:lnTo>
                  <a:lnTo>
                    <a:pt x="1094" y="853"/>
                  </a:lnTo>
                  <a:lnTo>
                    <a:pt x="1083" y="843"/>
                  </a:lnTo>
                  <a:lnTo>
                    <a:pt x="1073" y="832"/>
                  </a:lnTo>
                  <a:lnTo>
                    <a:pt x="1073" y="832"/>
                  </a:lnTo>
                  <a:lnTo>
                    <a:pt x="1058" y="842"/>
                  </a:lnTo>
                  <a:lnTo>
                    <a:pt x="1045" y="851"/>
                  </a:lnTo>
                  <a:lnTo>
                    <a:pt x="1030" y="860"/>
                  </a:lnTo>
                  <a:lnTo>
                    <a:pt x="1016" y="869"/>
                  </a:lnTo>
                  <a:lnTo>
                    <a:pt x="1000" y="876"/>
                  </a:lnTo>
                  <a:lnTo>
                    <a:pt x="986" y="883"/>
                  </a:lnTo>
                  <a:lnTo>
                    <a:pt x="955" y="895"/>
                  </a:lnTo>
                  <a:lnTo>
                    <a:pt x="923" y="906"/>
                  </a:lnTo>
                  <a:lnTo>
                    <a:pt x="890" y="914"/>
                  </a:lnTo>
                  <a:lnTo>
                    <a:pt x="856" y="920"/>
                  </a:lnTo>
                  <a:lnTo>
                    <a:pt x="823" y="923"/>
                  </a:lnTo>
                  <a:lnTo>
                    <a:pt x="790" y="924"/>
                  </a:lnTo>
                  <a:lnTo>
                    <a:pt x="756" y="923"/>
                  </a:lnTo>
                  <a:lnTo>
                    <a:pt x="723" y="919"/>
                  </a:lnTo>
                  <a:lnTo>
                    <a:pt x="690" y="913"/>
                  </a:lnTo>
                  <a:lnTo>
                    <a:pt x="658" y="905"/>
                  </a:lnTo>
                  <a:lnTo>
                    <a:pt x="641" y="900"/>
                  </a:lnTo>
                  <a:lnTo>
                    <a:pt x="626" y="894"/>
                  </a:lnTo>
                  <a:lnTo>
                    <a:pt x="610" y="888"/>
                  </a:lnTo>
                  <a:lnTo>
                    <a:pt x="595" y="881"/>
                  </a:lnTo>
                  <a:lnTo>
                    <a:pt x="579" y="874"/>
                  </a:lnTo>
                  <a:lnTo>
                    <a:pt x="565" y="865"/>
                  </a:lnTo>
                  <a:lnTo>
                    <a:pt x="565" y="865"/>
                  </a:lnTo>
                  <a:lnTo>
                    <a:pt x="542" y="879"/>
                  </a:lnTo>
                  <a:lnTo>
                    <a:pt x="518" y="891"/>
                  </a:lnTo>
                  <a:lnTo>
                    <a:pt x="493" y="902"/>
                  </a:lnTo>
                  <a:lnTo>
                    <a:pt x="468" y="911"/>
                  </a:lnTo>
                  <a:lnTo>
                    <a:pt x="442" y="917"/>
                  </a:lnTo>
                  <a:lnTo>
                    <a:pt x="417" y="922"/>
                  </a:lnTo>
                  <a:lnTo>
                    <a:pt x="391" y="925"/>
                  </a:lnTo>
                  <a:lnTo>
                    <a:pt x="364" y="927"/>
                  </a:lnTo>
                  <a:lnTo>
                    <a:pt x="364" y="927"/>
                  </a:lnTo>
                  <a:lnTo>
                    <a:pt x="345" y="925"/>
                  </a:lnTo>
                  <a:lnTo>
                    <a:pt x="327" y="924"/>
                  </a:lnTo>
                  <a:lnTo>
                    <a:pt x="308" y="922"/>
                  </a:lnTo>
                  <a:lnTo>
                    <a:pt x="290" y="918"/>
                  </a:lnTo>
                  <a:lnTo>
                    <a:pt x="273" y="914"/>
                  </a:lnTo>
                  <a:lnTo>
                    <a:pt x="255" y="910"/>
                  </a:lnTo>
                  <a:lnTo>
                    <a:pt x="239" y="904"/>
                  </a:lnTo>
                  <a:lnTo>
                    <a:pt x="222" y="898"/>
                  </a:lnTo>
                  <a:lnTo>
                    <a:pt x="205" y="890"/>
                  </a:lnTo>
                  <a:lnTo>
                    <a:pt x="190" y="882"/>
                  </a:lnTo>
                  <a:lnTo>
                    <a:pt x="175" y="874"/>
                  </a:lnTo>
                  <a:lnTo>
                    <a:pt x="160" y="863"/>
                  </a:lnTo>
                  <a:lnTo>
                    <a:pt x="146" y="854"/>
                  </a:lnTo>
                  <a:lnTo>
                    <a:pt x="132" y="843"/>
                  </a:lnTo>
                  <a:lnTo>
                    <a:pt x="120" y="831"/>
                  </a:lnTo>
                  <a:lnTo>
                    <a:pt x="106" y="820"/>
                  </a:lnTo>
                  <a:lnTo>
                    <a:pt x="95" y="806"/>
                  </a:lnTo>
                  <a:lnTo>
                    <a:pt x="83" y="794"/>
                  </a:lnTo>
                  <a:lnTo>
                    <a:pt x="72" y="780"/>
                  </a:lnTo>
                  <a:lnTo>
                    <a:pt x="62" y="766"/>
                  </a:lnTo>
                  <a:lnTo>
                    <a:pt x="52" y="751"/>
                  </a:lnTo>
                  <a:lnTo>
                    <a:pt x="44" y="736"/>
                  </a:lnTo>
                  <a:lnTo>
                    <a:pt x="36" y="720"/>
                  </a:lnTo>
                  <a:lnTo>
                    <a:pt x="29" y="704"/>
                  </a:lnTo>
                  <a:lnTo>
                    <a:pt x="22" y="687"/>
                  </a:lnTo>
                  <a:lnTo>
                    <a:pt x="16" y="671"/>
                  </a:lnTo>
                  <a:lnTo>
                    <a:pt x="11" y="653"/>
                  </a:lnTo>
                  <a:lnTo>
                    <a:pt x="7" y="636"/>
                  </a:lnTo>
                  <a:lnTo>
                    <a:pt x="4" y="618"/>
                  </a:lnTo>
                  <a:lnTo>
                    <a:pt x="2" y="600"/>
                  </a:lnTo>
                  <a:lnTo>
                    <a:pt x="1" y="581"/>
                  </a:lnTo>
                  <a:lnTo>
                    <a:pt x="0" y="562"/>
                  </a:lnTo>
                  <a:lnTo>
                    <a:pt x="0" y="562"/>
                  </a:lnTo>
                  <a:lnTo>
                    <a:pt x="1" y="543"/>
                  </a:lnTo>
                  <a:lnTo>
                    <a:pt x="2" y="523"/>
                  </a:lnTo>
                  <a:lnTo>
                    <a:pt x="5" y="503"/>
                  </a:lnTo>
                  <a:lnTo>
                    <a:pt x="9" y="484"/>
                  </a:lnTo>
                  <a:lnTo>
                    <a:pt x="13" y="465"/>
                  </a:lnTo>
                  <a:lnTo>
                    <a:pt x="19" y="446"/>
                  </a:lnTo>
                  <a:lnTo>
                    <a:pt x="25" y="429"/>
                  </a:lnTo>
                  <a:lnTo>
                    <a:pt x="33" y="411"/>
                  </a:lnTo>
                  <a:lnTo>
                    <a:pt x="41" y="394"/>
                  </a:lnTo>
                  <a:lnTo>
                    <a:pt x="50" y="377"/>
                  </a:lnTo>
                  <a:lnTo>
                    <a:pt x="61" y="361"/>
                  </a:lnTo>
                  <a:lnTo>
                    <a:pt x="72" y="346"/>
                  </a:lnTo>
                  <a:lnTo>
                    <a:pt x="83" y="331"/>
                  </a:lnTo>
                  <a:lnTo>
                    <a:pt x="96" y="316"/>
                  </a:lnTo>
                  <a:lnTo>
                    <a:pt x="108" y="303"/>
                  </a:lnTo>
                  <a:lnTo>
                    <a:pt x="123" y="290"/>
                  </a:lnTo>
                  <a:lnTo>
                    <a:pt x="137" y="278"/>
                  </a:lnTo>
                  <a:lnTo>
                    <a:pt x="152" y="266"/>
                  </a:lnTo>
                  <a:lnTo>
                    <a:pt x="167" y="256"/>
                  </a:lnTo>
                  <a:lnTo>
                    <a:pt x="184" y="246"/>
                  </a:lnTo>
                  <a:lnTo>
                    <a:pt x="200" y="237"/>
                  </a:lnTo>
                  <a:lnTo>
                    <a:pt x="218" y="229"/>
                  </a:lnTo>
                  <a:lnTo>
                    <a:pt x="235" y="222"/>
                  </a:lnTo>
                  <a:lnTo>
                    <a:pt x="253" y="216"/>
                  </a:lnTo>
                  <a:lnTo>
                    <a:pt x="272" y="210"/>
                  </a:lnTo>
                  <a:lnTo>
                    <a:pt x="291" y="205"/>
                  </a:lnTo>
                  <a:lnTo>
                    <a:pt x="310" y="202"/>
                  </a:lnTo>
                  <a:lnTo>
                    <a:pt x="330" y="200"/>
                  </a:lnTo>
                  <a:lnTo>
                    <a:pt x="350" y="199"/>
                  </a:lnTo>
                  <a:lnTo>
                    <a:pt x="370" y="199"/>
                  </a:lnTo>
                  <a:lnTo>
                    <a:pt x="391" y="200"/>
                  </a:lnTo>
                  <a:lnTo>
                    <a:pt x="411" y="202"/>
                  </a:lnTo>
                  <a:lnTo>
                    <a:pt x="411" y="202"/>
                  </a:lnTo>
                  <a:lnTo>
                    <a:pt x="429" y="179"/>
                  </a:lnTo>
                  <a:lnTo>
                    <a:pt x="447" y="157"/>
                  </a:lnTo>
                  <a:lnTo>
                    <a:pt x="466" y="137"/>
                  </a:lnTo>
                  <a:lnTo>
                    <a:pt x="486" y="117"/>
                  </a:lnTo>
                  <a:lnTo>
                    <a:pt x="508" y="100"/>
                  </a:lnTo>
                  <a:lnTo>
                    <a:pt x="529" y="83"/>
                  </a:lnTo>
                  <a:lnTo>
                    <a:pt x="553" y="68"/>
                  </a:lnTo>
                  <a:lnTo>
                    <a:pt x="577" y="54"/>
                  </a:lnTo>
                  <a:lnTo>
                    <a:pt x="602" y="42"/>
                  </a:lnTo>
                  <a:lnTo>
                    <a:pt x="628" y="30"/>
                  </a:lnTo>
                  <a:lnTo>
                    <a:pt x="654" y="22"/>
                  </a:lnTo>
                  <a:lnTo>
                    <a:pt x="680" y="14"/>
                  </a:lnTo>
                  <a:lnTo>
                    <a:pt x="708" y="9"/>
                  </a:lnTo>
                  <a:lnTo>
                    <a:pt x="736" y="4"/>
                  </a:lnTo>
                  <a:lnTo>
                    <a:pt x="764" y="1"/>
                  </a:lnTo>
                  <a:lnTo>
                    <a:pt x="793" y="0"/>
                  </a:lnTo>
                  <a:lnTo>
                    <a:pt x="793" y="0"/>
                  </a:lnTo>
                  <a:lnTo>
                    <a:pt x="813" y="1"/>
                  </a:lnTo>
                  <a:lnTo>
                    <a:pt x="832" y="3"/>
                  </a:lnTo>
                  <a:lnTo>
                    <a:pt x="850" y="5"/>
                  </a:lnTo>
                  <a:lnTo>
                    <a:pt x="870" y="7"/>
                  </a:lnTo>
                  <a:lnTo>
                    <a:pt x="887" y="11"/>
                  </a:lnTo>
                  <a:lnTo>
                    <a:pt x="906" y="15"/>
                  </a:lnTo>
                  <a:lnTo>
                    <a:pt x="925" y="20"/>
                  </a:lnTo>
                  <a:lnTo>
                    <a:pt x="942" y="25"/>
                  </a:lnTo>
                  <a:lnTo>
                    <a:pt x="960" y="31"/>
                  </a:lnTo>
                  <a:lnTo>
                    <a:pt x="976" y="39"/>
                  </a:lnTo>
                  <a:lnTo>
                    <a:pt x="993" y="47"/>
                  </a:lnTo>
                  <a:lnTo>
                    <a:pt x="1010" y="55"/>
                  </a:lnTo>
                  <a:lnTo>
                    <a:pt x="1026" y="64"/>
                  </a:lnTo>
                  <a:lnTo>
                    <a:pt x="1042" y="74"/>
                  </a:lnTo>
                  <a:lnTo>
                    <a:pt x="1057" y="84"/>
                  </a:lnTo>
                  <a:lnTo>
                    <a:pt x="1072" y="95"/>
                  </a:lnTo>
                  <a:lnTo>
                    <a:pt x="1086" y="106"/>
                  </a:lnTo>
                  <a:lnTo>
                    <a:pt x="1101" y="118"/>
                  </a:lnTo>
                  <a:lnTo>
                    <a:pt x="1114" y="131"/>
                  </a:lnTo>
                  <a:lnTo>
                    <a:pt x="1128" y="143"/>
                  </a:lnTo>
                  <a:lnTo>
                    <a:pt x="1140" y="157"/>
                  </a:lnTo>
                  <a:lnTo>
                    <a:pt x="1151" y="171"/>
                  </a:lnTo>
                  <a:lnTo>
                    <a:pt x="1163" y="186"/>
                  </a:lnTo>
                  <a:lnTo>
                    <a:pt x="1174" y="200"/>
                  </a:lnTo>
                  <a:lnTo>
                    <a:pt x="1184" y="216"/>
                  </a:lnTo>
                  <a:lnTo>
                    <a:pt x="1194" y="232"/>
                  </a:lnTo>
                  <a:lnTo>
                    <a:pt x="1203" y="248"/>
                  </a:lnTo>
                  <a:lnTo>
                    <a:pt x="1211" y="265"/>
                  </a:lnTo>
                  <a:lnTo>
                    <a:pt x="1219" y="282"/>
                  </a:lnTo>
                  <a:lnTo>
                    <a:pt x="1226" y="299"/>
                  </a:lnTo>
                  <a:lnTo>
                    <a:pt x="1232" y="317"/>
                  </a:lnTo>
                  <a:lnTo>
                    <a:pt x="1238" y="336"/>
                  </a:lnTo>
                  <a:lnTo>
                    <a:pt x="1238" y="336"/>
                  </a:lnTo>
                  <a:lnTo>
                    <a:pt x="1263" y="333"/>
                  </a:lnTo>
                  <a:lnTo>
                    <a:pt x="1289" y="332"/>
                  </a:lnTo>
                  <a:lnTo>
                    <a:pt x="1289" y="332"/>
                  </a:lnTo>
                  <a:lnTo>
                    <a:pt x="1305" y="332"/>
                  </a:lnTo>
                  <a:lnTo>
                    <a:pt x="1319" y="333"/>
                  </a:lnTo>
                  <a:lnTo>
                    <a:pt x="1335" y="335"/>
                  </a:lnTo>
                  <a:lnTo>
                    <a:pt x="1349" y="337"/>
                  </a:lnTo>
                  <a:lnTo>
                    <a:pt x="1363" y="341"/>
                  </a:lnTo>
                  <a:lnTo>
                    <a:pt x="1378" y="345"/>
                  </a:lnTo>
                  <a:lnTo>
                    <a:pt x="1391" y="349"/>
                  </a:lnTo>
                  <a:lnTo>
                    <a:pt x="1405" y="354"/>
                  </a:lnTo>
                  <a:lnTo>
                    <a:pt x="1418" y="361"/>
                  </a:lnTo>
                  <a:lnTo>
                    <a:pt x="1431" y="367"/>
                  </a:lnTo>
                  <a:lnTo>
                    <a:pt x="1443" y="374"/>
                  </a:lnTo>
                  <a:lnTo>
                    <a:pt x="1456" y="382"/>
                  </a:lnTo>
                  <a:lnTo>
                    <a:pt x="1467" y="391"/>
                  </a:lnTo>
                  <a:lnTo>
                    <a:pt x="1478" y="399"/>
                  </a:lnTo>
                  <a:lnTo>
                    <a:pt x="1489" y="408"/>
                  </a:lnTo>
                  <a:lnTo>
                    <a:pt x="1499" y="418"/>
                  </a:lnTo>
                  <a:lnTo>
                    <a:pt x="1509" y="429"/>
                  </a:lnTo>
                  <a:lnTo>
                    <a:pt x="1519" y="439"/>
                  </a:lnTo>
                  <a:lnTo>
                    <a:pt x="1527" y="451"/>
                  </a:lnTo>
                  <a:lnTo>
                    <a:pt x="1535" y="462"/>
                  </a:lnTo>
                  <a:lnTo>
                    <a:pt x="1544" y="474"/>
                  </a:lnTo>
                  <a:lnTo>
                    <a:pt x="1551" y="487"/>
                  </a:lnTo>
                  <a:lnTo>
                    <a:pt x="1557" y="500"/>
                  </a:lnTo>
                  <a:lnTo>
                    <a:pt x="1563" y="513"/>
                  </a:lnTo>
                  <a:lnTo>
                    <a:pt x="1568" y="526"/>
                  </a:lnTo>
                  <a:lnTo>
                    <a:pt x="1574" y="541"/>
                  </a:lnTo>
                  <a:lnTo>
                    <a:pt x="1578" y="554"/>
                  </a:lnTo>
                  <a:lnTo>
                    <a:pt x="1581" y="569"/>
                  </a:lnTo>
                  <a:lnTo>
                    <a:pt x="1583" y="583"/>
                  </a:lnTo>
                  <a:lnTo>
                    <a:pt x="1585" y="599"/>
                  </a:lnTo>
                  <a:lnTo>
                    <a:pt x="1586" y="613"/>
                  </a:lnTo>
                  <a:lnTo>
                    <a:pt x="1587" y="629"/>
                  </a:lnTo>
                  <a:lnTo>
                    <a:pt x="1587" y="629"/>
                  </a:lnTo>
                  <a:lnTo>
                    <a:pt x="1586" y="644"/>
                  </a:lnTo>
                  <a:lnTo>
                    <a:pt x="1585" y="659"/>
                  </a:lnTo>
                  <a:lnTo>
                    <a:pt x="1583" y="674"/>
                  </a:lnTo>
                  <a:lnTo>
                    <a:pt x="1581" y="689"/>
                  </a:lnTo>
                  <a:lnTo>
                    <a:pt x="1578" y="703"/>
                  </a:lnTo>
                  <a:lnTo>
                    <a:pt x="1574" y="716"/>
                  </a:lnTo>
                  <a:lnTo>
                    <a:pt x="1568" y="731"/>
                  </a:lnTo>
                  <a:lnTo>
                    <a:pt x="1563" y="744"/>
                  </a:lnTo>
                  <a:lnTo>
                    <a:pt x="1557" y="758"/>
                  </a:lnTo>
                  <a:lnTo>
                    <a:pt x="1551" y="770"/>
                  </a:lnTo>
                  <a:lnTo>
                    <a:pt x="1544" y="783"/>
                  </a:lnTo>
                  <a:lnTo>
                    <a:pt x="1535" y="795"/>
                  </a:lnTo>
                  <a:lnTo>
                    <a:pt x="1527" y="806"/>
                  </a:lnTo>
                  <a:lnTo>
                    <a:pt x="1519" y="818"/>
                  </a:lnTo>
                  <a:lnTo>
                    <a:pt x="1509" y="828"/>
                  </a:lnTo>
                  <a:lnTo>
                    <a:pt x="1499" y="839"/>
                  </a:lnTo>
                  <a:lnTo>
                    <a:pt x="1489" y="849"/>
                  </a:lnTo>
                  <a:lnTo>
                    <a:pt x="1478" y="858"/>
                  </a:lnTo>
                  <a:lnTo>
                    <a:pt x="1467" y="866"/>
                  </a:lnTo>
                  <a:lnTo>
                    <a:pt x="1456" y="875"/>
                  </a:lnTo>
                  <a:lnTo>
                    <a:pt x="1443" y="883"/>
                  </a:lnTo>
                  <a:lnTo>
                    <a:pt x="1431" y="890"/>
                  </a:lnTo>
                  <a:lnTo>
                    <a:pt x="1418" y="897"/>
                  </a:lnTo>
                  <a:lnTo>
                    <a:pt x="1405" y="903"/>
                  </a:lnTo>
                  <a:lnTo>
                    <a:pt x="1391" y="908"/>
                  </a:lnTo>
                  <a:lnTo>
                    <a:pt x="1378" y="913"/>
                  </a:lnTo>
                  <a:lnTo>
                    <a:pt x="1363" y="917"/>
                  </a:lnTo>
                  <a:lnTo>
                    <a:pt x="1349" y="920"/>
                  </a:lnTo>
                  <a:lnTo>
                    <a:pt x="1335" y="922"/>
                  </a:lnTo>
                  <a:lnTo>
                    <a:pt x="1319" y="924"/>
                  </a:lnTo>
                  <a:lnTo>
                    <a:pt x="1305" y="925"/>
                  </a:lnTo>
                  <a:lnTo>
                    <a:pt x="1289" y="927"/>
                  </a:lnTo>
                  <a:lnTo>
                    <a:pt x="1289" y="927"/>
                  </a:lnTo>
                  <a:close/>
                  <a:moveTo>
                    <a:pt x="1077" y="753"/>
                  </a:moveTo>
                  <a:lnTo>
                    <a:pt x="1077" y="753"/>
                  </a:lnTo>
                  <a:lnTo>
                    <a:pt x="1080" y="753"/>
                  </a:lnTo>
                  <a:lnTo>
                    <a:pt x="1080" y="753"/>
                  </a:lnTo>
                  <a:lnTo>
                    <a:pt x="1087" y="755"/>
                  </a:lnTo>
                  <a:lnTo>
                    <a:pt x="1093" y="757"/>
                  </a:lnTo>
                  <a:lnTo>
                    <a:pt x="1099" y="761"/>
                  </a:lnTo>
                  <a:lnTo>
                    <a:pt x="1104" y="766"/>
                  </a:lnTo>
                  <a:lnTo>
                    <a:pt x="1104" y="766"/>
                  </a:lnTo>
                  <a:lnTo>
                    <a:pt x="1112" y="776"/>
                  </a:lnTo>
                  <a:lnTo>
                    <a:pt x="1121" y="787"/>
                  </a:lnTo>
                  <a:lnTo>
                    <a:pt x="1131" y="797"/>
                  </a:lnTo>
                  <a:lnTo>
                    <a:pt x="1141" y="805"/>
                  </a:lnTo>
                  <a:lnTo>
                    <a:pt x="1151" y="815"/>
                  </a:lnTo>
                  <a:lnTo>
                    <a:pt x="1162" y="822"/>
                  </a:lnTo>
                  <a:lnTo>
                    <a:pt x="1173" y="829"/>
                  </a:lnTo>
                  <a:lnTo>
                    <a:pt x="1185" y="835"/>
                  </a:lnTo>
                  <a:lnTo>
                    <a:pt x="1197" y="841"/>
                  </a:lnTo>
                  <a:lnTo>
                    <a:pt x="1209" y="846"/>
                  </a:lnTo>
                  <a:lnTo>
                    <a:pt x="1222" y="850"/>
                  </a:lnTo>
                  <a:lnTo>
                    <a:pt x="1235" y="854"/>
                  </a:lnTo>
                  <a:lnTo>
                    <a:pt x="1249" y="856"/>
                  </a:lnTo>
                  <a:lnTo>
                    <a:pt x="1262" y="858"/>
                  </a:lnTo>
                  <a:lnTo>
                    <a:pt x="1276" y="859"/>
                  </a:lnTo>
                  <a:lnTo>
                    <a:pt x="1289" y="860"/>
                  </a:lnTo>
                  <a:lnTo>
                    <a:pt x="1289" y="860"/>
                  </a:lnTo>
                  <a:lnTo>
                    <a:pt x="1313" y="859"/>
                  </a:lnTo>
                  <a:lnTo>
                    <a:pt x="1336" y="855"/>
                  </a:lnTo>
                  <a:lnTo>
                    <a:pt x="1358" y="850"/>
                  </a:lnTo>
                  <a:lnTo>
                    <a:pt x="1379" y="842"/>
                  </a:lnTo>
                  <a:lnTo>
                    <a:pt x="1400" y="832"/>
                  </a:lnTo>
                  <a:lnTo>
                    <a:pt x="1418" y="820"/>
                  </a:lnTo>
                  <a:lnTo>
                    <a:pt x="1436" y="808"/>
                  </a:lnTo>
                  <a:lnTo>
                    <a:pt x="1452" y="792"/>
                  </a:lnTo>
                  <a:lnTo>
                    <a:pt x="1468" y="775"/>
                  </a:lnTo>
                  <a:lnTo>
                    <a:pt x="1480" y="758"/>
                  </a:lnTo>
                  <a:lnTo>
                    <a:pt x="1493" y="739"/>
                  </a:lnTo>
                  <a:lnTo>
                    <a:pt x="1502" y="719"/>
                  </a:lnTo>
                  <a:lnTo>
                    <a:pt x="1510" y="697"/>
                  </a:lnTo>
                  <a:lnTo>
                    <a:pt x="1516" y="675"/>
                  </a:lnTo>
                  <a:lnTo>
                    <a:pt x="1520" y="652"/>
                  </a:lnTo>
                  <a:lnTo>
                    <a:pt x="1521" y="629"/>
                  </a:lnTo>
                  <a:lnTo>
                    <a:pt x="1521" y="629"/>
                  </a:lnTo>
                  <a:lnTo>
                    <a:pt x="1520" y="605"/>
                  </a:lnTo>
                  <a:lnTo>
                    <a:pt x="1516" y="582"/>
                  </a:lnTo>
                  <a:lnTo>
                    <a:pt x="1510" y="560"/>
                  </a:lnTo>
                  <a:lnTo>
                    <a:pt x="1502" y="538"/>
                  </a:lnTo>
                  <a:lnTo>
                    <a:pt x="1493" y="519"/>
                  </a:lnTo>
                  <a:lnTo>
                    <a:pt x="1480" y="499"/>
                  </a:lnTo>
                  <a:lnTo>
                    <a:pt x="1468" y="482"/>
                  </a:lnTo>
                  <a:lnTo>
                    <a:pt x="1452" y="465"/>
                  </a:lnTo>
                  <a:lnTo>
                    <a:pt x="1436" y="451"/>
                  </a:lnTo>
                  <a:lnTo>
                    <a:pt x="1418" y="437"/>
                  </a:lnTo>
                  <a:lnTo>
                    <a:pt x="1400" y="425"/>
                  </a:lnTo>
                  <a:lnTo>
                    <a:pt x="1379" y="415"/>
                  </a:lnTo>
                  <a:lnTo>
                    <a:pt x="1358" y="408"/>
                  </a:lnTo>
                  <a:lnTo>
                    <a:pt x="1336" y="402"/>
                  </a:lnTo>
                  <a:lnTo>
                    <a:pt x="1313" y="399"/>
                  </a:lnTo>
                  <a:lnTo>
                    <a:pt x="1289" y="397"/>
                  </a:lnTo>
                  <a:lnTo>
                    <a:pt x="1289" y="397"/>
                  </a:lnTo>
                  <a:lnTo>
                    <a:pt x="1272" y="398"/>
                  </a:lnTo>
                  <a:lnTo>
                    <a:pt x="1256" y="400"/>
                  </a:lnTo>
                  <a:lnTo>
                    <a:pt x="1239" y="403"/>
                  </a:lnTo>
                  <a:lnTo>
                    <a:pt x="1224" y="407"/>
                  </a:lnTo>
                  <a:lnTo>
                    <a:pt x="1224" y="407"/>
                  </a:lnTo>
                  <a:lnTo>
                    <a:pt x="1217" y="408"/>
                  </a:lnTo>
                  <a:lnTo>
                    <a:pt x="1210" y="408"/>
                  </a:lnTo>
                  <a:lnTo>
                    <a:pt x="1203" y="406"/>
                  </a:lnTo>
                  <a:lnTo>
                    <a:pt x="1197" y="404"/>
                  </a:lnTo>
                  <a:lnTo>
                    <a:pt x="1197" y="404"/>
                  </a:lnTo>
                  <a:lnTo>
                    <a:pt x="1192" y="400"/>
                  </a:lnTo>
                  <a:lnTo>
                    <a:pt x="1187" y="395"/>
                  </a:lnTo>
                  <a:lnTo>
                    <a:pt x="1183" y="388"/>
                  </a:lnTo>
                  <a:lnTo>
                    <a:pt x="1181" y="382"/>
                  </a:lnTo>
                  <a:lnTo>
                    <a:pt x="1181" y="382"/>
                  </a:lnTo>
                  <a:lnTo>
                    <a:pt x="1177" y="365"/>
                  </a:lnTo>
                  <a:lnTo>
                    <a:pt x="1173" y="348"/>
                  </a:lnTo>
                  <a:lnTo>
                    <a:pt x="1168" y="332"/>
                  </a:lnTo>
                  <a:lnTo>
                    <a:pt x="1162" y="316"/>
                  </a:lnTo>
                  <a:lnTo>
                    <a:pt x="1154" y="301"/>
                  </a:lnTo>
                  <a:lnTo>
                    <a:pt x="1147" y="285"/>
                  </a:lnTo>
                  <a:lnTo>
                    <a:pt x="1140" y="271"/>
                  </a:lnTo>
                  <a:lnTo>
                    <a:pt x="1131" y="256"/>
                  </a:lnTo>
                  <a:lnTo>
                    <a:pt x="1122" y="242"/>
                  </a:lnTo>
                  <a:lnTo>
                    <a:pt x="1112" y="228"/>
                  </a:lnTo>
                  <a:lnTo>
                    <a:pt x="1102" y="215"/>
                  </a:lnTo>
                  <a:lnTo>
                    <a:pt x="1091" y="202"/>
                  </a:lnTo>
                  <a:lnTo>
                    <a:pt x="1080" y="190"/>
                  </a:lnTo>
                  <a:lnTo>
                    <a:pt x="1069" y="177"/>
                  </a:lnTo>
                  <a:lnTo>
                    <a:pt x="1056" y="167"/>
                  </a:lnTo>
                  <a:lnTo>
                    <a:pt x="1043" y="156"/>
                  </a:lnTo>
                  <a:lnTo>
                    <a:pt x="1030" y="145"/>
                  </a:lnTo>
                  <a:lnTo>
                    <a:pt x="1017" y="136"/>
                  </a:lnTo>
                  <a:lnTo>
                    <a:pt x="1002" y="127"/>
                  </a:lnTo>
                  <a:lnTo>
                    <a:pt x="988" y="118"/>
                  </a:lnTo>
                  <a:lnTo>
                    <a:pt x="973" y="110"/>
                  </a:lnTo>
                  <a:lnTo>
                    <a:pt x="959" y="103"/>
                  </a:lnTo>
                  <a:lnTo>
                    <a:pt x="943" y="97"/>
                  </a:lnTo>
                  <a:lnTo>
                    <a:pt x="928" y="90"/>
                  </a:lnTo>
                  <a:lnTo>
                    <a:pt x="911" y="85"/>
                  </a:lnTo>
                  <a:lnTo>
                    <a:pt x="895" y="80"/>
                  </a:lnTo>
                  <a:lnTo>
                    <a:pt x="879" y="76"/>
                  </a:lnTo>
                  <a:lnTo>
                    <a:pt x="862" y="73"/>
                  </a:lnTo>
                  <a:lnTo>
                    <a:pt x="845" y="70"/>
                  </a:lnTo>
                  <a:lnTo>
                    <a:pt x="828" y="68"/>
                  </a:lnTo>
                  <a:lnTo>
                    <a:pt x="811" y="67"/>
                  </a:lnTo>
                  <a:lnTo>
                    <a:pt x="793" y="67"/>
                  </a:lnTo>
                  <a:lnTo>
                    <a:pt x="793" y="67"/>
                  </a:lnTo>
                  <a:lnTo>
                    <a:pt x="767" y="68"/>
                  </a:lnTo>
                  <a:lnTo>
                    <a:pt x="742" y="70"/>
                  </a:lnTo>
                  <a:lnTo>
                    <a:pt x="717" y="74"/>
                  </a:lnTo>
                  <a:lnTo>
                    <a:pt x="693" y="79"/>
                  </a:lnTo>
                  <a:lnTo>
                    <a:pt x="668" y="86"/>
                  </a:lnTo>
                  <a:lnTo>
                    <a:pt x="645" y="96"/>
                  </a:lnTo>
                  <a:lnTo>
                    <a:pt x="623" y="105"/>
                  </a:lnTo>
                  <a:lnTo>
                    <a:pt x="600" y="116"/>
                  </a:lnTo>
                  <a:lnTo>
                    <a:pt x="579" y="130"/>
                  </a:lnTo>
                  <a:lnTo>
                    <a:pt x="558" y="144"/>
                  </a:lnTo>
                  <a:lnTo>
                    <a:pt x="539" y="160"/>
                  </a:lnTo>
                  <a:lnTo>
                    <a:pt x="520" y="176"/>
                  </a:lnTo>
                  <a:lnTo>
                    <a:pt x="502" y="194"/>
                  </a:lnTo>
                  <a:lnTo>
                    <a:pt x="486" y="214"/>
                  </a:lnTo>
                  <a:lnTo>
                    <a:pt x="470" y="234"/>
                  </a:lnTo>
                  <a:lnTo>
                    <a:pt x="456" y="256"/>
                  </a:lnTo>
                  <a:lnTo>
                    <a:pt x="456" y="256"/>
                  </a:lnTo>
                  <a:lnTo>
                    <a:pt x="453" y="260"/>
                  </a:lnTo>
                  <a:lnTo>
                    <a:pt x="450" y="263"/>
                  </a:lnTo>
                  <a:lnTo>
                    <a:pt x="446" y="266"/>
                  </a:lnTo>
                  <a:lnTo>
                    <a:pt x="440" y="268"/>
                  </a:lnTo>
                  <a:lnTo>
                    <a:pt x="436" y="271"/>
                  </a:lnTo>
                  <a:lnTo>
                    <a:pt x="431" y="272"/>
                  </a:lnTo>
                  <a:lnTo>
                    <a:pt x="426" y="272"/>
                  </a:lnTo>
                  <a:lnTo>
                    <a:pt x="422" y="271"/>
                  </a:lnTo>
                  <a:lnTo>
                    <a:pt x="422" y="271"/>
                  </a:lnTo>
                  <a:lnTo>
                    <a:pt x="403" y="267"/>
                  </a:lnTo>
                  <a:lnTo>
                    <a:pt x="386" y="266"/>
                  </a:lnTo>
                  <a:lnTo>
                    <a:pt x="368" y="265"/>
                  </a:lnTo>
                  <a:lnTo>
                    <a:pt x="351" y="265"/>
                  </a:lnTo>
                  <a:lnTo>
                    <a:pt x="334" y="266"/>
                  </a:lnTo>
                  <a:lnTo>
                    <a:pt x="317" y="268"/>
                  </a:lnTo>
                  <a:lnTo>
                    <a:pt x="301" y="272"/>
                  </a:lnTo>
                  <a:lnTo>
                    <a:pt x="285" y="275"/>
                  </a:lnTo>
                  <a:lnTo>
                    <a:pt x="270" y="280"/>
                  </a:lnTo>
                  <a:lnTo>
                    <a:pt x="254" y="285"/>
                  </a:lnTo>
                  <a:lnTo>
                    <a:pt x="240" y="291"/>
                  </a:lnTo>
                  <a:lnTo>
                    <a:pt x="225" y="298"/>
                  </a:lnTo>
                  <a:lnTo>
                    <a:pt x="211" y="307"/>
                  </a:lnTo>
                  <a:lnTo>
                    <a:pt x="197" y="315"/>
                  </a:lnTo>
                  <a:lnTo>
                    <a:pt x="185" y="324"/>
                  </a:lnTo>
                  <a:lnTo>
                    <a:pt x="172" y="335"/>
                  </a:lnTo>
                  <a:lnTo>
                    <a:pt x="160" y="345"/>
                  </a:lnTo>
                  <a:lnTo>
                    <a:pt x="149" y="356"/>
                  </a:lnTo>
                  <a:lnTo>
                    <a:pt x="138" y="368"/>
                  </a:lnTo>
                  <a:lnTo>
                    <a:pt x="128" y="380"/>
                  </a:lnTo>
                  <a:lnTo>
                    <a:pt x="119" y="393"/>
                  </a:lnTo>
                  <a:lnTo>
                    <a:pt x="110" y="406"/>
                  </a:lnTo>
                  <a:lnTo>
                    <a:pt x="102" y="421"/>
                  </a:lnTo>
                  <a:lnTo>
                    <a:pt x="95" y="435"/>
                  </a:lnTo>
                  <a:lnTo>
                    <a:pt x="89" y="450"/>
                  </a:lnTo>
                  <a:lnTo>
                    <a:pt x="82" y="464"/>
                  </a:lnTo>
                  <a:lnTo>
                    <a:pt x="77" y="481"/>
                  </a:lnTo>
                  <a:lnTo>
                    <a:pt x="73" y="496"/>
                  </a:lnTo>
                  <a:lnTo>
                    <a:pt x="70" y="513"/>
                  </a:lnTo>
                  <a:lnTo>
                    <a:pt x="68" y="529"/>
                  </a:lnTo>
                  <a:lnTo>
                    <a:pt x="67" y="546"/>
                  </a:lnTo>
                  <a:lnTo>
                    <a:pt x="66" y="562"/>
                  </a:lnTo>
                  <a:lnTo>
                    <a:pt x="66" y="562"/>
                  </a:lnTo>
                  <a:lnTo>
                    <a:pt x="67" y="578"/>
                  </a:lnTo>
                  <a:lnTo>
                    <a:pt x="68" y="593"/>
                  </a:lnTo>
                  <a:lnTo>
                    <a:pt x="69" y="608"/>
                  </a:lnTo>
                  <a:lnTo>
                    <a:pt x="72" y="622"/>
                  </a:lnTo>
                  <a:lnTo>
                    <a:pt x="75" y="637"/>
                  </a:lnTo>
                  <a:lnTo>
                    <a:pt x="79" y="651"/>
                  </a:lnTo>
                  <a:lnTo>
                    <a:pt x="84" y="665"/>
                  </a:lnTo>
                  <a:lnTo>
                    <a:pt x="90" y="678"/>
                  </a:lnTo>
                  <a:lnTo>
                    <a:pt x="96" y="692"/>
                  </a:lnTo>
                  <a:lnTo>
                    <a:pt x="102" y="704"/>
                  </a:lnTo>
                  <a:lnTo>
                    <a:pt x="109" y="716"/>
                  </a:lnTo>
                  <a:lnTo>
                    <a:pt x="116" y="729"/>
                  </a:lnTo>
                  <a:lnTo>
                    <a:pt x="125" y="740"/>
                  </a:lnTo>
                  <a:lnTo>
                    <a:pt x="134" y="752"/>
                  </a:lnTo>
                  <a:lnTo>
                    <a:pt x="143" y="762"/>
                  </a:lnTo>
                  <a:lnTo>
                    <a:pt x="153" y="772"/>
                  </a:lnTo>
                  <a:lnTo>
                    <a:pt x="163" y="783"/>
                  </a:lnTo>
                  <a:lnTo>
                    <a:pt x="174" y="792"/>
                  </a:lnTo>
                  <a:lnTo>
                    <a:pt x="186" y="800"/>
                  </a:lnTo>
                  <a:lnTo>
                    <a:pt x="197" y="810"/>
                  </a:lnTo>
                  <a:lnTo>
                    <a:pt x="210" y="817"/>
                  </a:lnTo>
                  <a:lnTo>
                    <a:pt x="222" y="824"/>
                  </a:lnTo>
                  <a:lnTo>
                    <a:pt x="234" y="830"/>
                  </a:lnTo>
                  <a:lnTo>
                    <a:pt x="248" y="836"/>
                  </a:lnTo>
                  <a:lnTo>
                    <a:pt x="261" y="842"/>
                  </a:lnTo>
                  <a:lnTo>
                    <a:pt x="275" y="847"/>
                  </a:lnTo>
                  <a:lnTo>
                    <a:pt x="289" y="851"/>
                  </a:lnTo>
                  <a:lnTo>
                    <a:pt x="304" y="854"/>
                  </a:lnTo>
                  <a:lnTo>
                    <a:pt x="318" y="856"/>
                  </a:lnTo>
                  <a:lnTo>
                    <a:pt x="333" y="858"/>
                  </a:lnTo>
                  <a:lnTo>
                    <a:pt x="348" y="859"/>
                  </a:lnTo>
                  <a:lnTo>
                    <a:pt x="364" y="860"/>
                  </a:lnTo>
                  <a:lnTo>
                    <a:pt x="364" y="860"/>
                  </a:lnTo>
                  <a:lnTo>
                    <a:pt x="388" y="859"/>
                  </a:lnTo>
                  <a:lnTo>
                    <a:pt x="411" y="856"/>
                  </a:lnTo>
                  <a:lnTo>
                    <a:pt x="435" y="851"/>
                  </a:lnTo>
                  <a:lnTo>
                    <a:pt x="458" y="845"/>
                  </a:lnTo>
                  <a:lnTo>
                    <a:pt x="481" y="835"/>
                  </a:lnTo>
                  <a:lnTo>
                    <a:pt x="501" y="825"/>
                  </a:lnTo>
                  <a:lnTo>
                    <a:pt x="523" y="814"/>
                  </a:lnTo>
                  <a:lnTo>
                    <a:pt x="543" y="799"/>
                  </a:lnTo>
                  <a:lnTo>
                    <a:pt x="543" y="799"/>
                  </a:lnTo>
                  <a:lnTo>
                    <a:pt x="547" y="796"/>
                  </a:lnTo>
                  <a:lnTo>
                    <a:pt x="552" y="795"/>
                  </a:lnTo>
                  <a:lnTo>
                    <a:pt x="556" y="793"/>
                  </a:lnTo>
                  <a:lnTo>
                    <a:pt x="561" y="793"/>
                  </a:lnTo>
                  <a:lnTo>
                    <a:pt x="567" y="793"/>
                  </a:lnTo>
                  <a:lnTo>
                    <a:pt x="572" y="794"/>
                  </a:lnTo>
                  <a:lnTo>
                    <a:pt x="576" y="795"/>
                  </a:lnTo>
                  <a:lnTo>
                    <a:pt x="580" y="798"/>
                  </a:lnTo>
                  <a:lnTo>
                    <a:pt x="580" y="798"/>
                  </a:lnTo>
                  <a:lnTo>
                    <a:pt x="595" y="806"/>
                  </a:lnTo>
                  <a:lnTo>
                    <a:pt x="608" y="814"/>
                  </a:lnTo>
                  <a:lnTo>
                    <a:pt x="623" y="821"/>
                  </a:lnTo>
                  <a:lnTo>
                    <a:pt x="637" y="827"/>
                  </a:lnTo>
                  <a:lnTo>
                    <a:pt x="653" y="833"/>
                  </a:lnTo>
                  <a:lnTo>
                    <a:pt x="667" y="839"/>
                  </a:lnTo>
                  <a:lnTo>
                    <a:pt x="683" y="843"/>
                  </a:lnTo>
                  <a:lnTo>
                    <a:pt x="698" y="847"/>
                  </a:lnTo>
                  <a:lnTo>
                    <a:pt x="714" y="851"/>
                  </a:lnTo>
                  <a:lnTo>
                    <a:pt x="729" y="853"/>
                  </a:lnTo>
                  <a:lnTo>
                    <a:pt x="760" y="857"/>
                  </a:lnTo>
                  <a:lnTo>
                    <a:pt x="792" y="858"/>
                  </a:lnTo>
                  <a:lnTo>
                    <a:pt x="823" y="857"/>
                  </a:lnTo>
                  <a:lnTo>
                    <a:pt x="855" y="853"/>
                  </a:lnTo>
                  <a:lnTo>
                    <a:pt x="886" y="847"/>
                  </a:lnTo>
                  <a:lnTo>
                    <a:pt x="916" y="839"/>
                  </a:lnTo>
                  <a:lnTo>
                    <a:pt x="932" y="833"/>
                  </a:lnTo>
                  <a:lnTo>
                    <a:pt x="946" y="828"/>
                  </a:lnTo>
                  <a:lnTo>
                    <a:pt x="961" y="821"/>
                  </a:lnTo>
                  <a:lnTo>
                    <a:pt x="975" y="815"/>
                  </a:lnTo>
                  <a:lnTo>
                    <a:pt x="990" y="808"/>
                  </a:lnTo>
                  <a:lnTo>
                    <a:pt x="1003" y="799"/>
                  </a:lnTo>
                  <a:lnTo>
                    <a:pt x="1017" y="790"/>
                  </a:lnTo>
                  <a:lnTo>
                    <a:pt x="1030" y="781"/>
                  </a:lnTo>
                  <a:lnTo>
                    <a:pt x="1043" y="771"/>
                  </a:lnTo>
                  <a:lnTo>
                    <a:pt x="1055" y="761"/>
                  </a:lnTo>
                  <a:lnTo>
                    <a:pt x="1055" y="761"/>
                  </a:lnTo>
                  <a:lnTo>
                    <a:pt x="1060" y="757"/>
                  </a:lnTo>
                  <a:lnTo>
                    <a:pt x="1065" y="755"/>
                  </a:lnTo>
                  <a:lnTo>
                    <a:pt x="1071" y="753"/>
                  </a:lnTo>
                  <a:lnTo>
                    <a:pt x="1077" y="753"/>
                  </a:lnTo>
                  <a:lnTo>
                    <a:pt x="1077" y="753"/>
                  </a:lnTo>
                  <a:close/>
                </a:path>
              </a:pathLst>
            </a:custGeom>
            <a:solidFill>
              <a:srgbClr val="01010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9" name="Freeform 56">
              <a:extLst>
                <a:ext uri="{FF2B5EF4-FFF2-40B4-BE49-F238E27FC236}">
                  <a16:creationId xmlns:a16="http://schemas.microsoft.com/office/drawing/2014/main" id="{BA0E0D95-EDB8-4487-82E9-4C8352B5808D}"/>
                </a:ext>
              </a:extLst>
            </p:cNvPr>
            <p:cNvSpPr>
              <a:spLocks/>
            </p:cNvSpPr>
            <p:nvPr/>
          </p:nvSpPr>
          <p:spPr bwMode="auto">
            <a:xfrm>
              <a:off x="7161213" y="2787650"/>
              <a:ext cx="47625" cy="47625"/>
            </a:xfrm>
            <a:custGeom>
              <a:avLst/>
              <a:gdLst>
                <a:gd name="T0" fmla="*/ 48 w 208"/>
                <a:gd name="T1" fmla="*/ 208 h 208"/>
                <a:gd name="T2" fmla="*/ 0 w 208"/>
                <a:gd name="T3" fmla="*/ 161 h 208"/>
                <a:gd name="T4" fmla="*/ 162 w 208"/>
                <a:gd name="T5" fmla="*/ 0 h 208"/>
                <a:gd name="T6" fmla="*/ 208 w 208"/>
                <a:gd name="T7" fmla="*/ 47 h 208"/>
                <a:gd name="T8" fmla="*/ 48 w 208"/>
                <a:gd name="T9" fmla="*/ 208 h 2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8" h="208">
                  <a:moveTo>
                    <a:pt x="48" y="208"/>
                  </a:moveTo>
                  <a:lnTo>
                    <a:pt x="0" y="161"/>
                  </a:lnTo>
                  <a:lnTo>
                    <a:pt x="162" y="0"/>
                  </a:lnTo>
                  <a:lnTo>
                    <a:pt x="208" y="47"/>
                  </a:lnTo>
                  <a:lnTo>
                    <a:pt x="48" y="208"/>
                  </a:lnTo>
                  <a:close/>
                </a:path>
              </a:pathLst>
            </a:custGeom>
            <a:solidFill>
              <a:srgbClr val="01010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0" name="Freeform 57">
              <a:extLst>
                <a:ext uri="{FF2B5EF4-FFF2-40B4-BE49-F238E27FC236}">
                  <a16:creationId xmlns:a16="http://schemas.microsoft.com/office/drawing/2014/main" id="{640DA98D-6E1F-4068-99F3-44A7BE8B7F1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189788" y="2746375"/>
              <a:ext cx="60325" cy="60325"/>
            </a:xfrm>
            <a:custGeom>
              <a:avLst/>
              <a:gdLst>
                <a:gd name="T0" fmla="*/ 119 w 263"/>
                <a:gd name="T1" fmla="*/ 262 h 263"/>
                <a:gd name="T2" fmla="*/ 80 w 263"/>
                <a:gd name="T3" fmla="*/ 253 h 263"/>
                <a:gd name="T4" fmla="*/ 47 w 263"/>
                <a:gd name="T5" fmla="*/ 233 h 263"/>
                <a:gd name="T6" fmla="*/ 22 w 263"/>
                <a:gd name="T7" fmla="*/ 206 h 263"/>
                <a:gd name="T8" fmla="*/ 6 w 263"/>
                <a:gd name="T9" fmla="*/ 170 h 263"/>
                <a:gd name="T10" fmla="*/ 0 w 263"/>
                <a:gd name="T11" fmla="*/ 131 h 263"/>
                <a:gd name="T12" fmla="*/ 2 w 263"/>
                <a:gd name="T13" fmla="*/ 105 h 263"/>
                <a:gd name="T14" fmla="*/ 15 w 263"/>
                <a:gd name="T15" fmla="*/ 68 h 263"/>
                <a:gd name="T16" fmla="*/ 38 w 263"/>
                <a:gd name="T17" fmla="*/ 38 h 263"/>
                <a:gd name="T18" fmla="*/ 69 w 263"/>
                <a:gd name="T19" fmla="*/ 15 h 263"/>
                <a:gd name="T20" fmla="*/ 105 w 263"/>
                <a:gd name="T21" fmla="*/ 2 h 263"/>
                <a:gd name="T22" fmla="*/ 132 w 263"/>
                <a:gd name="T23" fmla="*/ 0 h 263"/>
                <a:gd name="T24" fmla="*/ 171 w 263"/>
                <a:gd name="T25" fmla="*/ 5 h 263"/>
                <a:gd name="T26" fmla="*/ 205 w 263"/>
                <a:gd name="T27" fmla="*/ 21 h 263"/>
                <a:gd name="T28" fmla="*/ 233 w 263"/>
                <a:gd name="T29" fmla="*/ 47 h 263"/>
                <a:gd name="T30" fmla="*/ 253 w 263"/>
                <a:gd name="T31" fmla="*/ 80 h 263"/>
                <a:gd name="T32" fmla="*/ 263 w 263"/>
                <a:gd name="T33" fmla="*/ 118 h 263"/>
                <a:gd name="T34" fmla="*/ 263 w 263"/>
                <a:gd name="T35" fmla="*/ 144 h 263"/>
                <a:gd name="T36" fmla="*/ 253 w 263"/>
                <a:gd name="T37" fmla="*/ 183 h 263"/>
                <a:gd name="T38" fmla="*/ 233 w 263"/>
                <a:gd name="T39" fmla="*/ 216 h 263"/>
                <a:gd name="T40" fmla="*/ 205 w 263"/>
                <a:gd name="T41" fmla="*/ 241 h 263"/>
                <a:gd name="T42" fmla="*/ 171 w 263"/>
                <a:gd name="T43" fmla="*/ 257 h 263"/>
                <a:gd name="T44" fmla="*/ 132 w 263"/>
                <a:gd name="T45" fmla="*/ 263 h 263"/>
                <a:gd name="T46" fmla="*/ 132 w 263"/>
                <a:gd name="T47" fmla="*/ 65 h 263"/>
                <a:gd name="T48" fmla="*/ 112 w 263"/>
                <a:gd name="T49" fmla="*/ 68 h 263"/>
                <a:gd name="T50" fmla="*/ 95 w 263"/>
                <a:gd name="T51" fmla="*/ 76 h 263"/>
                <a:gd name="T52" fmla="*/ 73 w 263"/>
                <a:gd name="T53" fmla="*/ 100 h 263"/>
                <a:gd name="T54" fmla="*/ 67 w 263"/>
                <a:gd name="T55" fmla="*/ 118 h 263"/>
                <a:gd name="T56" fmla="*/ 66 w 263"/>
                <a:gd name="T57" fmla="*/ 131 h 263"/>
                <a:gd name="T58" fmla="*/ 69 w 263"/>
                <a:gd name="T59" fmla="*/ 151 h 263"/>
                <a:gd name="T60" fmla="*/ 77 w 263"/>
                <a:gd name="T61" fmla="*/ 168 h 263"/>
                <a:gd name="T62" fmla="*/ 100 w 263"/>
                <a:gd name="T63" fmla="*/ 189 h 263"/>
                <a:gd name="T64" fmla="*/ 119 w 263"/>
                <a:gd name="T65" fmla="*/ 196 h 263"/>
                <a:gd name="T66" fmla="*/ 132 w 263"/>
                <a:gd name="T67" fmla="*/ 197 h 263"/>
                <a:gd name="T68" fmla="*/ 152 w 263"/>
                <a:gd name="T69" fmla="*/ 194 h 263"/>
                <a:gd name="T70" fmla="*/ 168 w 263"/>
                <a:gd name="T71" fmla="*/ 186 h 263"/>
                <a:gd name="T72" fmla="*/ 190 w 263"/>
                <a:gd name="T73" fmla="*/ 163 h 263"/>
                <a:gd name="T74" fmla="*/ 196 w 263"/>
                <a:gd name="T75" fmla="*/ 144 h 263"/>
                <a:gd name="T76" fmla="*/ 198 w 263"/>
                <a:gd name="T77" fmla="*/ 131 h 263"/>
                <a:gd name="T78" fmla="*/ 195 w 263"/>
                <a:gd name="T79" fmla="*/ 111 h 263"/>
                <a:gd name="T80" fmla="*/ 187 w 263"/>
                <a:gd name="T81" fmla="*/ 95 h 263"/>
                <a:gd name="T82" fmla="*/ 163 w 263"/>
                <a:gd name="T83" fmla="*/ 73 h 263"/>
                <a:gd name="T84" fmla="*/ 144 w 263"/>
                <a:gd name="T85" fmla="*/ 67 h 263"/>
                <a:gd name="T86" fmla="*/ 132 w 263"/>
                <a:gd name="T87" fmla="*/ 65 h 2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263" h="263">
                  <a:moveTo>
                    <a:pt x="132" y="263"/>
                  </a:moveTo>
                  <a:lnTo>
                    <a:pt x="132" y="263"/>
                  </a:lnTo>
                  <a:lnTo>
                    <a:pt x="119" y="262"/>
                  </a:lnTo>
                  <a:lnTo>
                    <a:pt x="105" y="260"/>
                  </a:lnTo>
                  <a:lnTo>
                    <a:pt x="93" y="257"/>
                  </a:lnTo>
                  <a:lnTo>
                    <a:pt x="80" y="253"/>
                  </a:lnTo>
                  <a:lnTo>
                    <a:pt x="69" y="248"/>
                  </a:lnTo>
                  <a:lnTo>
                    <a:pt x="57" y="241"/>
                  </a:lnTo>
                  <a:lnTo>
                    <a:pt x="47" y="233"/>
                  </a:lnTo>
                  <a:lnTo>
                    <a:pt x="38" y="225"/>
                  </a:lnTo>
                  <a:lnTo>
                    <a:pt x="30" y="216"/>
                  </a:lnTo>
                  <a:lnTo>
                    <a:pt x="22" y="206"/>
                  </a:lnTo>
                  <a:lnTo>
                    <a:pt x="15" y="194"/>
                  </a:lnTo>
                  <a:lnTo>
                    <a:pt x="10" y="183"/>
                  </a:lnTo>
                  <a:lnTo>
                    <a:pt x="6" y="170"/>
                  </a:lnTo>
                  <a:lnTo>
                    <a:pt x="2" y="158"/>
                  </a:lnTo>
                  <a:lnTo>
                    <a:pt x="1" y="144"/>
                  </a:lnTo>
                  <a:lnTo>
                    <a:pt x="0" y="131"/>
                  </a:lnTo>
                  <a:lnTo>
                    <a:pt x="0" y="131"/>
                  </a:lnTo>
                  <a:lnTo>
                    <a:pt x="1" y="118"/>
                  </a:lnTo>
                  <a:lnTo>
                    <a:pt x="2" y="105"/>
                  </a:lnTo>
                  <a:lnTo>
                    <a:pt x="6" y="92"/>
                  </a:lnTo>
                  <a:lnTo>
                    <a:pt x="10" y="80"/>
                  </a:lnTo>
                  <a:lnTo>
                    <a:pt x="15" y="68"/>
                  </a:lnTo>
                  <a:lnTo>
                    <a:pt x="22" y="58"/>
                  </a:lnTo>
                  <a:lnTo>
                    <a:pt x="30" y="47"/>
                  </a:lnTo>
                  <a:lnTo>
                    <a:pt x="38" y="38"/>
                  </a:lnTo>
                  <a:lnTo>
                    <a:pt x="47" y="30"/>
                  </a:lnTo>
                  <a:lnTo>
                    <a:pt x="57" y="21"/>
                  </a:lnTo>
                  <a:lnTo>
                    <a:pt x="69" y="15"/>
                  </a:lnTo>
                  <a:lnTo>
                    <a:pt x="80" y="10"/>
                  </a:lnTo>
                  <a:lnTo>
                    <a:pt x="93" y="5"/>
                  </a:lnTo>
                  <a:lnTo>
                    <a:pt x="105" y="2"/>
                  </a:lnTo>
                  <a:lnTo>
                    <a:pt x="119" y="0"/>
                  </a:lnTo>
                  <a:lnTo>
                    <a:pt x="132" y="0"/>
                  </a:lnTo>
                  <a:lnTo>
                    <a:pt x="132" y="0"/>
                  </a:lnTo>
                  <a:lnTo>
                    <a:pt x="145" y="0"/>
                  </a:lnTo>
                  <a:lnTo>
                    <a:pt x="158" y="2"/>
                  </a:lnTo>
                  <a:lnTo>
                    <a:pt x="171" y="5"/>
                  </a:lnTo>
                  <a:lnTo>
                    <a:pt x="183" y="10"/>
                  </a:lnTo>
                  <a:lnTo>
                    <a:pt x="194" y="15"/>
                  </a:lnTo>
                  <a:lnTo>
                    <a:pt x="205" y="21"/>
                  </a:lnTo>
                  <a:lnTo>
                    <a:pt x="216" y="30"/>
                  </a:lnTo>
                  <a:lnTo>
                    <a:pt x="225" y="38"/>
                  </a:lnTo>
                  <a:lnTo>
                    <a:pt x="233" y="47"/>
                  </a:lnTo>
                  <a:lnTo>
                    <a:pt x="242" y="58"/>
                  </a:lnTo>
                  <a:lnTo>
                    <a:pt x="248" y="68"/>
                  </a:lnTo>
                  <a:lnTo>
                    <a:pt x="253" y="80"/>
                  </a:lnTo>
                  <a:lnTo>
                    <a:pt x="258" y="92"/>
                  </a:lnTo>
                  <a:lnTo>
                    <a:pt x="261" y="105"/>
                  </a:lnTo>
                  <a:lnTo>
                    <a:pt x="263" y="118"/>
                  </a:lnTo>
                  <a:lnTo>
                    <a:pt x="263" y="131"/>
                  </a:lnTo>
                  <a:lnTo>
                    <a:pt x="263" y="131"/>
                  </a:lnTo>
                  <a:lnTo>
                    <a:pt x="263" y="144"/>
                  </a:lnTo>
                  <a:lnTo>
                    <a:pt x="261" y="158"/>
                  </a:lnTo>
                  <a:lnTo>
                    <a:pt x="258" y="170"/>
                  </a:lnTo>
                  <a:lnTo>
                    <a:pt x="253" y="183"/>
                  </a:lnTo>
                  <a:lnTo>
                    <a:pt x="248" y="194"/>
                  </a:lnTo>
                  <a:lnTo>
                    <a:pt x="242" y="206"/>
                  </a:lnTo>
                  <a:lnTo>
                    <a:pt x="233" y="216"/>
                  </a:lnTo>
                  <a:lnTo>
                    <a:pt x="225" y="225"/>
                  </a:lnTo>
                  <a:lnTo>
                    <a:pt x="216" y="233"/>
                  </a:lnTo>
                  <a:lnTo>
                    <a:pt x="205" y="241"/>
                  </a:lnTo>
                  <a:lnTo>
                    <a:pt x="194" y="248"/>
                  </a:lnTo>
                  <a:lnTo>
                    <a:pt x="183" y="253"/>
                  </a:lnTo>
                  <a:lnTo>
                    <a:pt x="171" y="257"/>
                  </a:lnTo>
                  <a:lnTo>
                    <a:pt x="158" y="260"/>
                  </a:lnTo>
                  <a:lnTo>
                    <a:pt x="145" y="262"/>
                  </a:lnTo>
                  <a:lnTo>
                    <a:pt x="132" y="263"/>
                  </a:lnTo>
                  <a:lnTo>
                    <a:pt x="132" y="263"/>
                  </a:lnTo>
                  <a:close/>
                  <a:moveTo>
                    <a:pt x="132" y="65"/>
                  </a:moveTo>
                  <a:lnTo>
                    <a:pt x="132" y="65"/>
                  </a:lnTo>
                  <a:lnTo>
                    <a:pt x="125" y="66"/>
                  </a:lnTo>
                  <a:lnTo>
                    <a:pt x="119" y="67"/>
                  </a:lnTo>
                  <a:lnTo>
                    <a:pt x="112" y="68"/>
                  </a:lnTo>
                  <a:lnTo>
                    <a:pt x="106" y="70"/>
                  </a:lnTo>
                  <a:lnTo>
                    <a:pt x="100" y="73"/>
                  </a:lnTo>
                  <a:lnTo>
                    <a:pt x="95" y="76"/>
                  </a:lnTo>
                  <a:lnTo>
                    <a:pt x="84" y="84"/>
                  </a:lnTo>
                  <a:lnTo>
                    <a:pt x="77" y="95"/>
                  </a:lnTo>
                  <a:lnTo>
                    <a:pt x="73" y="100"/>
                  </a:lnTo>
                  <a:lnTo>
                    <a:pt x="71" y="105"/>
                  </a:lnTo>
                  <a:lnTo>
                    <a:pt x="69" y="111"/>
                  </a:lnTo>
                  <a:lnTo>
                    <a:pt x="67" y="118"/>
                  </a:lnTo>
                  <a:lnTo>
                    <a:pt x="66" y="125"/>
                  </a:lnTo>
                  <a:lnTo>
                    <a:pt x="66" y="131"/>
                  </a:lnTo>
                  <a:lnTo>
                    <a:pt x="66" y="131"/>
                  </a:lnTo>
                  <a:lnTo>
                    <a:pt x="66" y="138"/>
                  </a:lnTo>
                  <a:lnTo>
                    <a:pt x="67" y="144"/>
                  </a:lnTo>
                  <a:lnTo>
                    <a:pt x="69" y="151"/>
                  </a:lnTo>
                  <a:lnTo>
                    <a:pt x="71" y="157"/>
                  </a:lnTo>
                  <a:lnTo>
                    <a:pt x="73" y="163"/>
                  </a:lnTo>
                  <a:lnTo>
                    <a:pt x="77" y="168"/>
                  </a:lnTo>
                  <a:lnTo>
                    <a:pt x="84" y="178"/>
                  </a:lnTo>
                  <a:lnTo>
                    <a:pt x="95" y="186"/>
                  </a:lnTo>
                  <a:lnTo>
                    <a:pt x="100" y="189"/>
                  </a:lnTo>
                  <a:lnTo>
                    <a:pt x="106" y="192"/>
                  </a:lnTo>
                  <a:lnTo>
                    <a:pt x="112" y="194"/>
                  </a:lnTo>
                  <a:lnTo>
                    <a:pt x="119" y="196"/>
                  </a:lnTo>
                  <a:lnTo>
                    <a:pt x="125" y="197"/>
                  </a:lnTo>
                  <a:lnTo>
                    <a:pt x="132" y="197"/>
                  </a:lnTo>
                  <a:lnTo>
                    <a:pt x="132" y="197"/>
                  </a:lnTo>
                  <a:lnTo>
                    <a:pt x="138" y="197"/>
                  </a:lnTo>
                  <a:lnTo>
                    <a:pt x="144" y="196"/>
                  </a:lnTo>
                  <a:lnTo>
                    <a:pt x="152" y="194"/>
                  </a:lnTo>
                  <a:lnTo>
                    <a:pt x="157" y="192"/>
                  </a:lnTo>
                  <a:lnTo>
                    <a:pt x="163" y="189"/>
                  </a:lnTo>
                  <a:lnTo>
                    <a:pt x="168" y="186"/>
                  </a:lnTo>
                  <a:lnTo>
                    <a:pt x="179" y="178"/>
                  </a:lnTo>
                  <a:lnTo>
                    <a:pt x="187" y="168"/>
                  </a:lnTo>
                  <a:lnTo>
                    <a:pt x="190" y="163"/>
                  </a:lnTo>
                  <a:lnTo>
                    <a:pt x="192" y="157"/>
                  </a:lnTo>
                  <a:lnTo>
                    <a:pt x="195" y="151"/>
                  </a:lnTo>
                  <a:lnTo>
                    <a:pt x="196" y="144"/>
                  </a:lnTo>
                  <a:lnTo>
                    <a:pt x="197" y="138"/>
                  </a:lnTo>
                  <a:lnTo>
                    <a:pt x="198" y="131"/>
                  </a:lnTo>
                  <a:lnTo>
                    <a:pt x="198" y="131"/>
                  </a:lnTo>
                  <a:lnTo>
                    <a:pt x="197" y="125"/>
                  </a:lnTo>
                  <a:lnTo>
                    <a:pt x="196" y="118"/>
                  </a:lnTo>
                  <a:lnTo>
                    <a:pt x="195" y="111"/>
                  </a:lnTo>
                  <a:lnTo>
                    <a:pt x="192" y="105"/>
                  </a:lnTo>
                  <a:lnTo>
                    <a:pt x="190" y="100"/>
                  </a:lnTo>
                  <a:lnTo>
                    <a:pt x="187" y="95"/>
                  </a:lnTo>
                  <a:lnTo>
                    <a:pt x="179" y="84"/>
                  </a:lnTo>
                  <a:lnTo>
                    <a:pt x="168" y="76"/>
                  </a:lnTo>
                  <a:lnTo>
                    <a:pt x="163" y="73"/>
                  </a:lnTo>
                  <a:lnTo>
                    <a:pt x="157" y="70"/>
                  </a:lnTo>
                  <a:lnTo>
                    <a:pt x="152" y="68"/>
                  </a:lnTo>
                  <a:lnTo>
                    <a:pt x="144" y="67"/>
                  </a:lnTo>
                  <a:lnTo>
                    <a:pt x="138" y="66"/>
                  </a:lnTo>
                  <a:lnTo>
                    <a:pt x="132" y="65"/>
                  </a:lnTo>
                  <a:lnTo>
                    <a:pt x="132" y="65"/>
                  </a:lnTo>
                  <a:close/>
                </a:path>
              </a:pathLst>
            </a:custGeom>
            <a:solidFill>
              <a:srgbClr val="01010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pic>
        <p:nvPicPr>
          <p:cNvPr id="101" name="Graphic 44" descr="Forest scene">
            <a:extLst>
              <a:ext uri="{FF2B5EF4-FFF2-40B4-BE49-F238E27FC236}">
                <a16:creationId xmlns:a16="http://schemas.microsoft.com/office/drawing/2014/main" id="{1F82FEB0-AA0A-4612-B050-3C78D15F67DD}"/>
              </a:ext>
            </a:extLst>
          </p:cNvPr>
          <p:cNvPicPr>
            <a:picLocks noChangeAspect="1"/>
          </p:cNvPicPr>
          <p:nvPr/>
        </p:nvPicPr>
        <p:blipFill>
          <a:blip r:embed="rId13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14"/>
              </a:ext>
            </a:extLst>
          </a:blip>
          <a:stretch>
            <a:fillRect/>
          </a:stretch>
        </p:blipFill>
        <p:spPr>
          <a:xfrm>
            <a:off x="5447185" y="3565514"/>
            <a:ext cx="445656" cy="445656"/>
          </a:xfrm>
          <a:prstGeom prst="rect">
            <a:avLst/>
          </a:prstGeom>
        </p:spPr>
      </p:pic>
      <p:sp>
        <p:nvSpPr>
          <p:cNvPr id="59" name="Slide Number Placeholder 2">
            <a:extLst>
              <a:ext uri="{FF2B5EF4-FFF2-40B4-BE49-F238E27FC236}">
                <a16:creationId xmlns:a16="http://schemas.microsoft.com/office/drawing/2014/main" id="{717AF783-CABC-4AF2-809A-1DCEABA2CFFD}"/>
              </a:ext>
            </a:extLst>
          </p:cNvPr>
          <p:cNvSpPr txBox="1">
            <a:spLocks/>
          </p:cNvSpPr>
          <p:nvPr/>
        </p:nvSpPr>
        <p:spPr>
          <a:xfrm>
            <a:off x="11604794" y="298450"/>
            <a:ext cx="431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pl-PL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ID" dirty="0" smtClean="0">
                <a:solidFill>
                  <a:schemeClr val="tx1"/>
                </a:solidFill>
              </a:rPr>
              <a:t>0</a:t>
            </a:r>
            <a:fld id="{2CBBA7E6-4538-4F86-A84E-2F9DAC94FB18}" type="slidenum">
              <a:rPr lang="en-ID" smtClean="0">
                <a:solidFill>
                  <a:schemeClr val="tx1"/>
                </a:solidFill>
              </a:rPr>
              <a:pPr algn="ctr"/>
              <a:t>14</a:t>
            </a:fld>
            <a:endParaRPr lang="en-ID" dirty="0">
              <a:solidFill>
                <a:schemeClr val="tx1"/>
              </a:solidFill>
            </a:endParaRPr>
          </a:p>
        </p:txBody>
      </p:sp>
      <p:cxnSp>
        <p:nvCxnSpPr>
          <p:cNvPr id="60" name="Straight Connector 59">
            <a:extLst>
              <a:ext uri="{FF2B5EF4-FFF2-40B4-BE49-F238E27FC236}">
                <a16:creationId xmlns:a16="http://schemas.microsoft.com/office/drawing/2014/main" id="{E76D8B24-ABF5-4567-B965-7BD12085D9C8}"/>
              </a:ext>
            </a:extLst>
          </p:cNvPr>
          <p:cNvCxnSpPr>
            <a:cxnSpLocks/>
          </p:cNvCxnSpPr>
          <p:nvPr/>
        </p:nvCxnSpPr>
        <p:spPr>
          <a:xfrm>
            <a:off x="11798469" y="723906"/>
            <a:ext cx="0" cy="6134094"/>
          </a:xfrm>
          <a:prstGeom prst="line">
            <a:avLst/>
          </a:prstGeom>
          <a:ln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9793136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9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10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73" name="Graphic 472">
            <a:extLst>
              <a:ext uri="{FF2B5EF4-FFF2-40B4-BE49-F238E27FC236}">
                <a16:creationId xmlns:a16="http://schemas.microsoft.com/office/drawing/2014/main" id="{AB8931FC-796F-4055-83AA-1B87C2EEC55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 rot="17932382" flipH="1">
            <a:off x="6272220" y="3733586"/>
            <a:ext cx="1173145" cy="2510941"/>
          </a:xfrm>
          <a:prstGeom prst="rect">
            <a:avLst/>
          </a:prstGeom>
        </p:spPr>
      </p:pic>
      <p:sp>
        <p:nvSpPr>
          <p:cNvPr id="1387" name="Graphic 460">
            <a:extLst>
              <a:ext uri="{FF2B5EF4-FFF2-40B4-BE49-F238E27FC236}">
                <a16:creationId xmlns:a16="http://schemas.microsoft.com/office/drawing/2014/main" id="{5FE0F5A2-9FFE-4C53-AD07-F1994A01E598}"/>
              </a:ext>
            </a:extLst>
          </p:cNvPr>
          <p:cNvSpPr/>
          <p:nvPr/>
        </p:nvSpPr>
        <p:spPr>
          <a:xfrm>
            <a:off x="5750437" y="3069348"/>
            <a:ext cx="1534375" cy="2650740"/>
          </a:xfrm>
          <a:custGeom>
            <a:avLst/>
            <a:gdLst>
              <a:gd name="connsiteX0" fmla="*/ 1004503 w 1345026"/>
              <a:gd name="connsiteY0" fmla="*/ 1498038 h 1920352"/>
              <a:gd name="connsiteX1" fmla="*/ 491009 w 1345026"/>
              <a:gd name="connsiteY1" fmla="*/ 967592 h 1920352"/>
              <a:gd name="connsiteX2" fmla="*/ 1004503 w 1345026"/>
              <a:gd name="connsiteY2" fmla="*/ 1488928 h 1920352"/>
              <a:gd name="connsiteX3" fmla="*/ 965758 w 1345026"/>
              <a:gd name="connsiteY3" fmla="*/ 1130761 h 1920352"/>
              <a:gd name="connsiteX4" fmla="*/ 556738 w 1345026"/>
              <a:gd name="connsiteY4" fmla="*/ 764984 h 1920352"/>
              <a:gd name="connsiteX5" fmla="*/ 961606 w 1345026"/>
              <a:gd name="connsiteY5" fmla="*/ 1112772 h 1920352"/>
              <a:gd name="connsiteX6" fmla="*/ 855517 w 1345026"/>
              <a:gd name="connsiteY6" fmla="*/ 809611 h 1920352"/>
              <a:gd name="connsiteX7" fmla="*/ 485473 w 1345026"/>
              <a:gd name="connsiteY7" fmla="*/ 539314 h 1920352"/>
              <a:gd name="connsiteX8" fmla="*/ 831071 w 1345026"/>
              <a:gd name="connsiteY8" fmla="*/ 760026 h 1920352"/>
              <a:gd name="connsiteX9" fmla="*/ 695807 w 1345026"/>
              <a:gd name="connsiteY9" fmla="*/ 543350 h 1920352"/>
              <a:gd name="connsiteX10" fmla="*/ 680239 w 1345026"/>
              <a:gd name="connsiteY10" fmla="*/ 547847 h 1920352"/>
              <a:gd name="connsiteX11" fmla="*/ 372350 w 1345026"/>
              <a:gd name="connsiteY11" fmla="*/ 368303 h 1920352"/>
              <a:gd name="connsiteX12" fmla="*/ 654870 w 1345026"/>
              <a:gd name="connsiteY12" fmla="*/ 490767 h 1920352"/>
              <a:gd name="connsiteX13" fmla="*/ 552240 w 1345026"/>
              <a:gd name="connsiteY13" fmla="*/ 376605 h 1920352"/>
              <a:gd name="connsiteX14" fmla="*/ 471636 w 1345026"/>
              <a:gd name="connsiteY14" fmla="*/ 364267 h 1920352"/>
              <a:gd name="connsiteX15" fmla="*/ 191307 w 1345026"/>
              <a:gd name="connsiteY15" fmla="*/ 241457 h 1920352"/>
              <a:gd name="connsiteX16" fmla="*/ 541286 w 1345026"/>
              <a:gd name="connsiteY16" fmla="*/ 365651 h 1920352"/>
              <a:gd name="connsiteX17" fmla="*/ 382728 w 1345026"/>
              <a:gd name="connsiteY17" fmla="*/ 227850 h 1920352"/>
              <a:gd name="connsiteX18" fmla="*/ 376501 w 1345026"/>
              <a:gd name="connsiteY18" fmla="*/ 228542 h 1920352"/>
              <a:gd name="connsiteX19" fmla="*/ 167552 w 1345026"/>
              <a:gd name="connsiteY19" fmla="*/ 145515 h 1920352"/>
              <a:gd name="connsiteX20" fmla="*/ 0 w 1345026"/>
              <a:gd name="connsiteY20" fmla="*/ 1834 h 1920352"/>
              <a:gd name="connsiteX21" fmla="*/ 395067 w 1345026"/>
              <a:gd name="connsiteY21" fmla="*/ 226697 h 1920352"/>
              <a:gd name="connsiteX22" fmla="*/ 394144 w 1345026"/>
              <a:gd name="connsiteY22" fmla="*/ 226812 h 1920352"/>
              <a:gd name="connsiteX23" fmla="*/ 538749 w 1345026"/>
              <a:gd name="connsiteY23" fmla="*/ 348815 h 1920352"/>
              <a:gd name="connsiteX24" fmla="*/ 401294 w 1345026"/>
              <a:gd name="connsiteY24" fmla="*/ 42194 h 1920352"/>
              <a:gd name="connsiteX25" fmla="*/ 558698 w 1345026"/>
              <a:gd name="connsiteY25" fmla="*/ 333363 h 1920352"/>
              <a:gd name="connsiteX26" fmla="*/ 549934 w 1345026"/>
              <a:gd name="connsiteY26" fmla="*/ 359654 h 1920352"/>
              <a:gd name="connsiteX27" fmla="*/ 709645 w 1345026"/>
              <a:gd name="connsiteY27" fmla="*/ 539429 h 1920352"/>
              <a:gd name="connsiteX28" fmla="*/ 709645 w 1345026"/>
              <a:gd name="connsiteY28" fmla="*/ 539429 h 1920352"/>
              <a:gd name="connsiteX29" fmla="*/ 709645 w 1345026"/>
              <a:gd name="connsiteY29" fmla="*/ 539429 h 1920352"/>
              <a:gd name="connsiteX30" fmla="*/ 731554 w 1345026"/>
              <a:gd name="connsiteY30" fmla="*/ 569065 h 1920352"/>
              <a:gd name="connsiteX31" fmla="*/ 703764 w 1345026"/>
              <a:gd name="connsiteY31" fmla="*/ 99274 h 1920352"/>
              <a:gd name="connsiteX32" fmla="*/ 735014 w 1345026"/>
              <a:gd name="connsiteY32" fmla="*/ 573793 h 1920352"/>
              <a:gd name="connsiteX33" fmla="*/ 877427 w 1345026"/>
              <a:gd name="connsiteY33" fmla="*/ 814915 h 1920352"/>
              <a:gd name="connsiteX34" fmla="*/ 923437 w 1345026"/>
              <a:gd name="connsiteY34" fmla="*/ 258985 h 1920352"/>
              <a:gd name="connsiteX35" fmla="*/ 967833 w 1345026"/>
              <a:gd name="connsiteY35" fmla="*/ 559955 h 1920352"/>
              <a:gd name="connsiteX36" fmla="*/ 883654 w 1345026"/>
              <a:gd name="connsiteY36" fmla="*/ 828638 h 1920352"/>
              <a:gd name="connsiteX37" fmla="*/ 986168 w 1345026"/>
              <a:gd name="connsiteY37" fmla="*/ 1123727 h 1920352"/>
              <a:gd name="connsiteX38" fmla="*/ 1188315 w 1345026"/>
              <a:gd name="connsiteY38" fmla="*/ 438414 h 1920352"/>
              <a:gd name="connsiteX39" fmla="*/ 989397 w 1345026"/>
              <a:gd name="connsiteY39" fmla="*/ 1137796 h 1920352"/>
              <a:gd name="connsiteX40" fmla="*/ 1029988 w 1345026"/>
              <a:gd name="connsiteY40" fmla="*/ 1491234 h 1920352"/>
              <a:gd name="connsiteX41" fmla="*/ 1135846 w 1345026"/>
              <a:gd name="connsiteY41" fmla="*/ 1106661 h 1920352"/>
              <a:gd name="connsiteX42" fmla="*/ 1345027 w 1345026"/>
              <a:gd name="connsiteY42" fmla="*/ 775593 h 1920352"/>
              <a:gd name="connsiteX43" fmla="*/ 1030103 w 1345026"/>
              <a:gd name="connsiteY43" fmla="*/ 1507839 h 1920352"/>
              <a:gd name="connsiteX44" fmla="*/ 979250 w 1345026"/>
              <a:gd name="connsiteY44" fmla="*/ 1907173 h 1920352"/>
              <a:gd name="connsiteX45" fmla="*/ 979250 w 1345026"/>
              <a:gd name="connsiteY45" fmla="*/ 1907404 h 1920352"/>
              <a:gd name="connsiteX46" fmla="*/ 960684 w 1345026"/>
              <a:gd name="connsiteY46" fmla="*/ 1920204 h 1920352"/>
              <a:gd name="connsiteX47" fmla="*/ 949960 w 1345026"/>
              <a:gd name="connsiteY47" fmla="*/ 1903137 h 1920352"/>
              <a:gd name="connsiteX48" fmla="*/ 1004503 w 1345026"/>
              <a:gd name="connsiteY48" fmla="*/ 1498038 h 19203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</a:cxnLst>
            <a:rect l="l" t="t" r="r" b="b"/>
            <a:pathLst>
              <a:path w="1345026" h="1920352">
                <a:moveTo>
                  <a:pt x="1004503" y="1498038"/>
                </a:moveTo>
                <a:cubicBezTo>
                  <a:pt x="760383" y="1317917"/>
                  <a:pt x="666517" y="1136527"/>
                  <a:pt x="491009" y="967592"/>
                </a:cubicBezTo>
                <a:cubicBezTo>
                  <a:pt x="788635" y="1063072"/>
                  <a:pt x="980749" y="1414089"/>
                  <a:pt x="1004503" y="1488928"/>
                </a:cubicBezTo>
                <a:cubicBezTo>
                  <a:pt x="1005080" y="1368540"/>
                  <a:pt x="992280" y="1248151"/>
                  <a:pt x="965758" y="1130761"/>
                </a:cubicBezTo>
                <a:cubicBezTo>
                  <a:pt x="822653" y="1008874"/>
                  <a:pt x="673436" y="939340"/>
                  <a:pt x="556738" y="764984"/>
                </a:cubicBezTo>
                <a:cubicBezTo>
                  <a:pt x="742855" y="810649"/>
                  <a:pt x="914674" y="1028939"/>
                  <a:pt x="961606" y="1112772"/>
                </a:cubicBezTo>
                <a:cubicBezTo>
                  <a:pt x="936814" y="1008528"/>
                  <a:pt x="901297" y="906821"/>
                  <a:pt x="855517" y="809611"/>
                </a:cubicBezTo>
                <a:cubicBezTo>
                  <a:pt x="715180" y="739730"/>
                  <a:pt x="590064" y="648286"/>
                  <a:pt x="485473" y="539314"/>
                </a:cubicBezTo>
                <a:cubicBezTo>
                  <a:pt x="619123" y="576791"/>
                  <a:pt x="741241" y="654052"/>
                  <a:pt x="831071" y="760026"/>
                </a:cubicBezTo>
                <a:cubicBezTo>
                  <a:pt x="792210" y="684495"/>
                  <a:pt x="747006" y="611962"/>
                  <a:pt x="695807" y="543350"/>
                </a:cubicBezTo>
                <a:cubicBezTo>
                  <a:pt x="690618" y="544849"/>
                  <a:pt x="685429" y="546348"/>
                  <a:pt x="680239" y="547847"/>
                </a:cubicBezTo>
                <a:cubicBezTo>
                  <a:pt x="560197" y="518673"/>
                  <a:pt x="452032" y="455250"/>
                  <a:pt x="372350" y="368303"/>
                </a:cubicBezTo>
                <a:cubicBezTo>
                  <a:pt x="474749" y="385946"/>
                  <a:pt x="572651" y="428151"/>
                  <a:pt x="654870" y="490767"/>
                </a:cubicBezTo>
                <a:cubicBezTo>
                  <a:pt x="622698" y="451214"/>
                  <a:pt x="588334" y="413045"/>
                  <a:pt x="552240" y="376605"/>
                </a:cubicBezTo>
                <a:cubicBezTo>
                  <a:pt x="533214" y="375568"/>
                  <a:pt x="471636" y="364151"/>
                  <a:pt x="471636" y="364267"/>
                </a:cubicBezTo>
                <a:cubicBezTo>
                  <a:pt x="369813" y="337514"/>
                  <a:pt x="280099" y="292426"/>
                  <a:pt x="191307" y="241457"/>
                </a:cubicBezTo>
                <a:cubicBezTo>
                  <a:pt x="274794" y="242495"/>
                  <a:pt x="483974" y="331517"/>
                  <a:pt x="541286" y="365651"/>
                </a:cubicBezTo>
                <a:cubicBezTo>
                  <a:pt x="491816" y="316527"/>
                  <a:pt x="438771" y="270516"/>
                  <a:pt x="382728" y="227850"/>
                </a:cubicBezTo>
                <a:cubicBezTo>
                  <a:pt x="380653" y="228080"/>
                  <a:pt x="378577" y="228311"/>
                  <a:pt x="376501" y="228542"/>
                </a:cubicBezTo>
                <a:cubicBezTo>
                  <a:pt x="300163" y="221854"/>
                  <a:pt x="228668" y="188066"/>
                  <a:pt x="167552" y="145515"/>
                </a:cubicBezTo>
                <a:cubicBezTo>
                  <a:pt x="106896" y="102964"/>
                  <a:pt x="54659" y="51419"/>
                  <a:pt x="0" y="1834"/>
                </a:cubicBezTo>
                <a:cubicBezTo>
                  <a:pt x="182773" y="-18462"/>
                  <a:pt x="285634" y="134445"/>
                  <a:pt x="395067" y="226697"/>
                </a:cubicBezTo>
                <a:cubicBezTo>
                  <a:pt x="394721" y="226697"/>
                  <a:pt x="394490" y="226812"/>
                  <a:pt x="394144" y="226812"/>
                </a:cubicBezTo>
                <a:cubicBezTo>
                  <a:pt x="444883" y="264866"/>
                  <a:pt x="493200" y="305572"/>
                  <a:pt x="538749" y="348815"/>
                </a:cubicBezTo>
                <a:cubicBezTo>
                  <a:pt x="503808" y="244224"/>
                  <a:pt x="454685" y="142748"/>
                  <a:pt x="401294" y="42194"/>
                </a:cubicBezTo>
                <a:cubicBezTo>
                  <a:pt x="490663" y="118532"/>
                  <a:pt x="547167" y="224621"/>
                  <a:pt x="558698" y="333363"/>
                </a:cubicBezTo>
                <a:cubicBezTo>
                  <a:pt x="558698" y="333363"/>
                  <a:pt x="555239" y="353427"/>
                  <a:pt x="549934" y="359654"/>
                </a:cubicBezTo>
                <a:cubicBezTo>
                  <a:pt x="607822" y="415697"/>
                  <a:pt x="661328" y="475776"/>
                  <a:pt x="709645" y="539429"/>
                </a:cubicBezTo>
                <a:lnTo>
                  <a:pt x="709645" y="539429"/>
                </a:lnTo>
                <a:lnTo>
                  <a:pt x="709645" y="539429"/>
                </a:lnTo>
                <a:cubicBezTo>
                  <a:pt x="717025" y="549231"/>
                  <a:pt x="724290" y="559148"/>
                  <a:pt x="731554" y="569065"/>
                </a:cubicBezTo>
                <a:cubicBezTo>
                  <a:pt x="720138" y="520748"/>
                  <a:pt x="640110" y="283431"/>
                  <a:pt x="703764" y="99274"/>
                </a:cubicBezTo>
                <a:cubicBezTo>
                  <a:pt x="762228" y="247107"/>
                  <a:pt x="769032" y="427574"/>
                  <a:pt x="735014" y="573793"/>
                </a:cubicBezTo>
                <a:cubicBezTo>
                  <a:pt x="789673" y="649900"/>
                  <a:pt x="837413" y="730736"/>
                  <a:pt x="877427" y="814915"/>
                </a:cubicBezTo>
                <a:cubicBezTo>
                  <a:pt x="878349" y="733157"/>
                  <a:pt x="851827" y="441527"/>
                  <a:pt x="923437" y="258985"/>
                </a:cubicBezTo>
                <a:cubicBezTo>
                  <a:pt x="926897" y="352274"/>
                  <a:pt x="966334" y="466897"/>
                  <a:pt x="967833" y="559955"/>
                </a:cubicBezTo>
                <a:cubicBezTo>
                  <a:pt x="970024" y="649670"/>
                  <a:pt x="930472" y="753107"/>
                  <a:pt x="883654" y="828638"/>
                </a:cubicBezTo>
                <a:cubicBezTo>
                  <a:pt x="927589" y="923426"/>
                  <a:pt x="961837" y="1022366"/>
                  <a:pt x="986168" y="1123727"/>
                </a:cubicBezTo>
                <a:cubicBezTo>
                  <a:pt x="1019610" y="903477"/>
                  <a:pt x="1055357" y="659587"/>
                  <a:pt x="1188315" y="438414"/>
                </a:cubicBezTo>
                <a:cubicBezTo>
                  <a:pt x="1235363" y="667428"/>
                  <a:pt x="1036676" y="1071029"/>
                  <a:pt x="989397" y="1137796"/>
                </a:cubicBezTo>
                <a:cubicBezTo>
                  <a:pt x="1016035" y="1253571"/>
                  <a:pt x="1029527" y="1372345"/>
                  <a:pt x="1029988" y="1491234"/>
                </a:cubicBezTo>
                <a:cubicBezTo>
                  <a:pt x="1048554" y="1423545"/>
                  <a:pt x="1090182" y="1208714"/>
                  <a:pt x="1135846" y="1106661"/>
                </a:cubicBezTo>
                <a:cubicBezTo>
                  <a:pt x="1193965" y="985004"/>
                  <a:pt x="1241013" y="875455"/>
                  <a:pt x="1345027" y="775593"/>
                </a:cubicBezTo>
                <a:cubicBezTo>
                  <a:pt x="1341221" y="1098128"/>
                  <a:pt x="1210455" y="1325989"/>
                  <a:pt x="1030103" y="1507839"/>
                </a:cubicBezTo>
                <a:cubicBezTo>
                  <a:pt x="1029411" y="1642065"/>
                  <a:pt x="1012114" y="1776522"/>
                  <a:pt x="979250" y="1907173"/>
                </a:cubicBezTo>
                <a:cubicBezTo>
                  <a:pt x="979250" y="1907173"/>
                  <a:pt x="979250" y="1907288"/>
                  <a:pt x="979250" y="1907404"/>
                </a:cubicBezTo>
                <a:cubicBezTo>
                  <a:pt x="977059" y="1915706"/>
                  <a:pt x="968641" y="1921357"/>
                  <a:pt x="960684" y="1920204"/>
                </a:cubicBezTo>
                <a:cubicBezTo>
                  <a:pt x="952612" y="1918935"/>
                  <a:pt x="947884" y="1911324"/>
                  <a:pt x="949960" y="1903137"/>
                </a:cubicBezTo>
                <a:cubicBezTo>
                  <a:pt x="984669" y="1770987"/>
                  <a:pt x="1003235" y="1634570"/>
                  <a:pt x="1004503" y="1498038"/>
                </a:cubicBezTo>
                <a:close/>
              </a:path>
            </a:pathLst>
          </a:custGeom>
          <a:solidFill>
            <a:srgbClr val="2A3E33"/>
          </a:solidFill>
          <a:ln w="11479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pic>
        <p:nvPicPr>
          <p:cNvPr id="1380" name="Graphic 1379">
            <a:extLst>
              <a:ext uri="{FF2B5EF4-FFF2-40B4-BE49-F238E27FC236}">
                <a16:creationId xmlns:a16="http://schemas.microsoft.com/office/drawing/2014/main" id="{83733D6B-E099-4335-A325-21FCE22B53AB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xmlns="" r:embed="rId6"/>
              </a:ext>
            </a:extLst>
          </a:blip>
          <a:stretch>
            <a:fillRect/>
          </a:stretch>
        </p:blipFill>
        <p:spPr>
          <a:xfrm>
            <a:off x="6639599" y="3611564"/>
            <a:ext cx="1721844" cy="2419488"/>
          </a:xfrm>
          <a:prstGeom prst="rect">
            <a:avLst/>
          </a:prstGeom>
        </p:spPr>
      </p:pic>
      <p:sp>
        <p:nvSpPr>
          <p:cNvPr id="10" name="Oval 9">
            <a:extLst>
              <a:ext uri="{FF2B5EF4-FFF2-40B4-BE49-F238E27FC236}">
                <a16:creationId xmlns:a16="http://schemas.microsoft.com/office/drawing/2014/main" id="{339E06BB-9A1A-40F4-8C02-FF0936F8BB4C}"/>
              </a:ext>
            </a:extLst>
          </p:cNvPr>
          <p:cNvSpPr/>
          <p:nvPr/>
        </p:nvSpPr>
        <p:spPr>
          <a:xfrm>
            <a:off x="2235200" y="-635000"/>
            <a:ext cx="444500" cy="444500"/>
          </a:xfrm>
          <a:prstGeom prst="ellipse">
            <a:avLst/>
          </a:prstGeom>
          <a:solidFill>
            <a:srgbClr val="D7EDC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: Single Corner Rounded 5">
            <a:extLst>
              <a:ext uri="{FF2B5EF4-FFF2-40B4-BE49-F238E27FC236}">
                <a16:creationId xmlns:a16="http://schemas.microsoft.com/office/drawing/2014/main" id="{BA00F6BD-ABD4-4B87-80EE-C5ED4FFBABCC}"/>
              </a:ext>
            </a:extLst>
          </p:cNvPr>
          <p:cNvSpPr/>
          <p:nvPr/>
        </p:nvSpPr>
        <p:spPr>
          <a:xfrm flipH="1">
            <a:off x="7518400" y="0"/>
            <a:ext cx="4673600" cy="5871029"/>
          </a:xfrm>
          <a:prstGeom prst="round1Rect">
            <a:avLst/>
          </a:prstGeom>
          <a:solidFill>
            <a:srgbClr val="D7EDC7"/>
          </a:solidFill>
          <a:ln>
            <a:noFill/>
          </a:ln>
          <a:effectLst>
            <a:outerShdw blurRad="685800" dist="355600" dir="6480000" sx="103000" sy="103000" algn="ctr" rotWithShape="0">
              <a:srgbClr val="000000">
                <a:alpha val="25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697704C4-D420-491B-8C40-7D3ECDD781BC}"/>
              </a:ext>
            </a:extLst>
          </p:cNvPr>
          <p:cNvSpPr txBox="1"/>
          <p:nvPr/>
        </p:nvSpPr>
        <p:spPr>
          <a:xfrm>
            <a:off x="649092" y="2585041"/>
            <a:ext cx="5158968" cy="123110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8000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THANK YOU</a:t>
            </a:r>
          </a:p>
        </p:txBody>
      </p:sp>
      <p:pic>
        <p:nvPicPr>
          <p:cNvPr id="32" name="Picture 31" descr="Green-leafed Plant">
            <a:extLst>
              <a:ext uri="{FF2B5EF4-FFF2-40B4-BE49-F238E27FC236}">
                <a16:creationId xmlns:a16="http://schemas.microsoft.com/office/drawing/2014/main" id="{1393E241-A3C1-4C3D-8DD8-ED8E4D0C5C5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6253"/>
          <a:stretch>
            <a:fillRect/>
          </a:stretch>
        </p:blipFill>
        <p:spPr bwMode="auto">
          <a:xfrm>
            <a:off x="7518401" y="0"/>
            <a:ext cx="4673599" cy="5871029"/>
          </a:xfrm>
          <a:custGeom>
            <a:avLst/>
            <a:gdLst>
              <a:gd name="connsiteX0" fmla="*/ 778949 w 4673599"/>
              <a:gd name="connsiteY0" fmla="*/ 0 h 5871029"/>
              <a:gd name="connsiteX1" fmla="*/ 4673599 w 4673599"/>
              <a:gd name="connsiteY1" fmla="*/ 0 h 5871029"/>
              <a:gd name="connsiteX2" fmla="*/ 4673599 w 4673599"/>
              <a:gd name="connsiteY2" fmla="*/ 5871029 h 5871029"/>
              <a:gd name="connsiteX3" fmla="*/ 0 w 4673599"/>
              <a:gd name="connsiteY3" fmla="*/ 5871029 h 5871029"/>
              <a:gd name="connsiteX4" fmla="*/ 0 w 4673599"/>
              <a:gd name="connsiteY4" fmla="*/ 778949 h 5871029"/>
              <a:gd name="connsiteX5" fmla="*/ 778949 w 4673599"/>
              <a:gd name="connsiteY5" fmla="*/ 0 h 58710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673599" h="5871029">
                <a:moveTo>
                  <a:pt x="778949" y="0"/>
                </a:moveTo>
                <a:lnTo>
                  <a:pt x="4673599" y="0"/>
                </a:lnTo>
                <a:lnTo>
                  <a:pt x="4673599" y="5871029"/>
                </a:lnTo>
                <a:lnTo>
                  <a:pt x="0" y="5871029"/>
                </a:lnTo>
                <a:lnTo>
                  <a:pt x="0" y="778949"/>
                </a:lnTo>
                <a:cubicBezTo>
                  <a:pt x="0" y="348747"/>
                  <a:pt x="348747" y="0"/>
                  <a:pt x="778949" y="0"/>
                </a:cubicBez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4" name="Picture 33">
            <a:extLst>
              <a:ext uri="{FF2B5EF4-FFF2-40B4-BE49-F238E27FC236}">
                <a16:creationId xmlns:a16="http://schemas.microsoft.com/office/drawing/2014/main" id="{6A680EDD-03F5-4CFF-A40B-D3912B65D235}"/>
              </a:ext>
            </a:extLst>
          </p:cNvPr>
          <p:cNvPicPr>
            <a:picLocks noChangeAspect="1"/>
          </p:cNvPicPr>
          <p:nvPr/>
        </p:nvPicPr>
        <p:blipFill>
          <a:blip r:embed="rId8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27666" y="-601138"/>
            <a:ext cx="2816472" cy="1676886"/>
          </a:xfrm>
          <a:prstGeom prst="rect">
            <a:avLst/>
          </a:prstGeom>
        </p:spPr>
      </p:pic>
      <p:pic>
        <p:nvPicPr>
          <p:cNvPr id="1377" name="Graphic 1376">
            <a:extLst>
              <a:ext uri="{FF2B5EF4-FFF2-40B4-BE49-F238E27FC236}">
                <a16:creationId xmlns:a16="http://schemas.microsoft.com/office/drawing/2014/main" id="{0DE58F00-7DF8-4DC1-8E6C-BFB9E9FA0E3B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xmlns="" r:embed="rId12"/>
              </a:ext>
            </a:extLst>
          </a:blip>
          <a:stretch>
            <a:fillRect/>
          </a:stretch>
        </p:blipFill>
        <p:spPr>
          <a:xfrm>
            <a:off x="11171987" y="3088375"/>
            <a:ext cx="1525277" cy="3315820"/>
          </a:xfrm>
          <a:prstGeom prst="rect">
            <a:avLst/>
          </a:prstGeom>
        </p:spPr>
      </p:pic>
      <p:pic>
        <p:nvPicPr>
          <p:cNvPr id="1379" name="Graphic 1378">
            <a:extLst>
              <a:ext uri="{FF2B5EF4-FFF2-40B4-BE49-F238E27FC236}">
                <a16:creationId xmlns:a16="http://schemas.microsoft.com/office/drawing/2014/main" id="{8A6FC5A6-E874-4766-8949-4C4ABFC12C6B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96DAC541-7B7A-43D3-8B79-37D633B846F1}">
                <asvg:svgBlip xmlns:asvg="http://schemas.microsoft.com/office/drawing/2016/SVG/main" xmlns="" r:embed="rId14"/>
              </a:ext>
            </a:extLst>
          </a:blip>
          <a:stretch>
            <a:fillRect/>
          </a:stretch>
        </p:blipFill>
        <p:spPr>
          <a:xfrm>
            <a:off x="8505036" y="3375087"/>
            <a:ext cx="1194638" cy="2730601"/>
          </a:xfrm>
          <a:prstGeom prst="rect">
            <a:avLst/>
          </a:prstGeom>
        </p:spPr>
      </p:pic>
      <p:pic>
        <p:nvPicPr>
          <p:cNvPr id="1382" name="Graphic 1381">
            <a:extLst>
              <a:ext uri="{FF2B5EF4-FFF2-40B4-BE49-F238E27FC236}">
                <a16:creationId xmlns:a16="http://schemas.microsoft.com/office/drawing/2014/main" id="{DD913929-155B-4D1C-9292-77335173F30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 rot="1721867">
            <a:off x="7515675" y="3541716"/>
            <a:ext cx="1173145" cy="2510941"/>
          </a:xfrm>
          <a:prstGeom prst="rect">
            <a:avLst/>
          </a:prstGeom>
        </p:spPr>
      </p:pic>
      <p:pic>
        <p:nvPicPr>
          <p:cNvPr id="1383" name="Graphic 1382">
            <a:extLst>
              <a:ext uri="{FF2B5EF4-FFF2-40B4-BE49-F238E27FC236}">
                <a16:creationId xmlns:a16="http://schemas.microsoft.com/office/drawing/2014/main" id="{682E9BA8-0316-40EE-B8C9-3B910B947EA9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96DAC541-7B7A-43D3-8B79-37D633B846F1}">
                <asvg:svgBlip xmlns:asvg="http://schemas.microsoft.com/office/drawing/2016/SVG/main" xmlns="" r:embed="rId16"/>
              </a:ext>
            </a:extLst>
          </a:blip>
          <a:stretch>
            <a:fillRect/>
          </a:stretch>
        </p:blipFill>
        <p:spPr>
          <a:xfrm rot="16664766">
            <a:off x="6240679" y="4527802"/>
            <a:ext cx="1361312" cy="1563821"/>
          </a:xfrm>
          <a:prstGeom prst="rect">
            <a:avLst/>
          </a:prstGeom>
        </p:spPr>
      </p:pic>
      <p:grpSp>
        <p:nvGrpSpPr>
          <p:cNvPr id="1289" name="Graphic 1287">
            <a:extLst>
              <a:ext uri="{FF2B5EF4-FFF2-40B4-BE49-F238E27FC236}">
                <a16:creationId xmlns:a16="http://schemas.microsoft.com/office/drawing/2014/main" id="{3AF0CC9A-49BC-41AD-A10C-81F1C9646867}"/>
              </a:ext>
            </a:extLst>
          </p:cNvPr>
          <p:cNvGrpSpPr/>
          <p:nvPr/>
        </p:nvGrpSpPr>
        <p:grpSpPr>
          <a:xfrm rot="1430481">
            <a:off x="6428277" y="1779074"/>
            <a:ext cx="4361049" cy="3251326"/>
            <a:chOff x="6781381" y="3074167"/>
            <a:chExt cx="3780722" cy="2818670"/>
          </a:xfrm>
        </p:grpSpPr>
        <p:sp>
          <p:nvSpPr>
            <p:cNvPr id="1291" name="Freeform: Shape 1290">
              <a:extLst>
                <a:ext uri="{FF2B5EF4-FFF2-40B4-BE49-F238E27FC236}">
                  <a16:creationId xmlns:a16="http://schemas.microsoft.com/office/drawing/2014/main" id="{F0E66A07-ACE5-4CB8-8EDD-36554B0C88A2}"/>
                </a:ext>
              </a:extLst>
            </p:cNvPr>
            <p:cNvSpPr/>
            <p:nvPr/>
          </p:nvSpPr>
          <p:spPr>
            <a:xfrm>
              <a:off x="8051053" y="3974665"/>
              <a:ext cx="1756792" cy="364916"/>
            </a:xfrm>
            <a:custGeom>
              <a:avLst/>
              <a:gdLst>
                <a:gd name="connsiteX0" fmla="*/ 1495879 w 1756792"/>
                <a:gd name="connsiteY0" fmla="*/ 235695 h 364916"/>
                <a:gd name="connsiteX1" fmla="*/ 679659 w 1756792"/>
                <a:gd name="connsiteY1" fmla="*/ 155130 h 364916"/>
                <a:gd name="connsiteX2" fmla="*/ 45425 w 1756792"/>
                <a:gd name="connsiteY2" fmla="*/ 11999 h 364916"/>
                <a:gd name="connsiteX3" fmla="*/ 0 w 1756792"/>
                <a:gd name="connsiteY3" fmla="*/ 0 h 364916"/>
                <a:gd name="connsiteX4" fmla="*/ 73137 w 1756792"/>
                <a:gd name="connsiteY4" fmla="*/ 249980 h 364916"/>
                <a:gd name="connsiteX5" fmla="*/ 481961 w 1756792"/>
                <a:gd name="connsiteY5" fmla="*/ 332544 h 364916"/>
                <a:gd name="connsiteX6" fmla="*/ 611093 w 1756792"/>
                <a:gd name="connsiteY6" fmla="*/ 323402 h 364916"/>
                <a:gd name="connsiteX7" fmla="*/ 1194760 w 1756792"/>
                <a:gd name="connsiteY7" fmla="*/ 364828 h 364916"/>
                <a:gd name="connsiteX8" fmla="*/ 1458453 w 1756792"/>
                <a:gd name="connsiteY8" fmla="*/ 269692 h 364916"/>
                <a:gd name="connsiteX9" fmla="*/ 1524448 w 1756792"/>
                <a:gd name="connsiteY9" fmla="*/ 235981 h 364916"/>
                <a:gd name="connsiteX10" fmla="*/ 1495879 w 1756792"/>
                <a:gd name="connsiteY10" fmla="*/ 235695 h 3649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756792" h="364916">
                  <a:moveTo>
                    <a:pt x="1495879" y="235695"/>
                  </a:moveTo>
                  <a:cubicBezTo>
                    <a:pt x="1138479" y="231410"/>
                    <a:pt x="857931" y="185128"/>
                    <a:pt x="679659" y="155130"/>
                  </a:cubicBezTo>
                  <a:cubicBezTo>
                    <a:pt x="429108" y="112848"/>
                    <a:pt x="241980" y="63995"/>
                    <a:pt x="45425" y="11999"/>
                  </a:cubicBezTo>
                  <a:cubicBezTo>
                    <a:pt x="30283" y="7999"/>
                    <a:pt x="15142" y="4000"/>
                    <a:pt x="0" y="0"/>
                  </a:cubicBezTo>
                  <a:cubicBezTo>
                    <a:pt x="4000" y="87422"/>
                    <a:pt x="30569" y="178271"/>
                    <a:pt x="73137" y="249980"/>
                  </a:cubicBezTo>
                  <a:cubicBezTo>
                    <a:pt x="177129" y="274835"/>
                    <a:pt x="308832" y="302833"/>
                    <a:pt x="481961" y="332544"/>
                  </a:cubicBezTo>
                  <a:cubicBezTo>
                    <a:pt x="518815" y="326831"/>
                    <a:pt x="561098" y="323117"/>
                    <a:pt x="611093" y="323402"/>
                  </a:cubicBezTo>
                  <a:cubicBezTo>
                    <a:pt x="890499" y="324831"/>
                    <a:pt x="967922" y="367113"/>
                    <a:pt x="1194760" y="364828"/>
                  </a:cubicBezTo>
                  <a:cubicBezTo>
                    <a:pt x="2310384" y="353400"/>
                    <a:pt x="1412743" y="329688"/>
                    <a:pt x="1458453" y="269692"/>
                  </a:cubicBezTo>
                  <a:cubicBezTo>
                    <a:pt x="1473881" y="249694"/>
                    <a:pt x="1502450" y="246266"/>
                    <a:pt x="1524448" y="235981"/>
                  </a:cubicBezTo>
                  <a:cubicBezTo>
                    <a:pt x="1515306" y="235981"/>
                    <a:pt x="1505592" y="235981"/>
                    <a:pt x="1495879" y="235695"/>
                  </a:cubicBezTo>
                  <a:close/>
                </a:path>
              </a:pathLst>
            </a:custGeom>
            <a:solidFill>
              <a:srgbClr val="2A3E33">
                <a:alpha val="94000"/>
              </a:srgbClr>
            </a:solidFill>
            <a:ln w="2850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92" name="Freeform: Shape 1291">
              <a:extLst>
                <a:ext uri="{FF2B5EF4-FFF2-40B4-BE49-F238E27FC236}">
                  <a16:creationId xmlns:a16="http://schemas.microsoft.com/office/drawing/2014/main" id="{4C1DE5FF-3278-4C4F-A52E-BE969F62DA49}"/>
                </a:ext>
              </a:extLst>
            </p:cNvPr>
            <p:cNvSpPr/>
            <p:nvPr/>
          </p:nvSpPr>
          <p:spPr>
            <a:xfrm>
              <a:off x="8205610" y="4155943"/>
              <a:ext cx="170380" cy="141627"/>
            </a:xfrm>
            <a:custGeom>
              <a:avLst/>
              <a:gdLst>
                <a:gd name="connsiteX0" fmla="*/ 84852 w 170380"/>
                <a:gd name="connsiteY0" fmla="*/ 140410 h 141627"/>
                <a:gd name="connsiteX1" fmla="*/ 167131 w 170380"/>
                <a:gd name="connsiteY1" fmla="*/ 62131 h 141627"/>
                <a:gd name="connsiteX2" fmla="*/ 158560 w 170380"/>
                <a:gd name="connsiteY2" fmla="*/ 422 h 141627"/>
                <a:gd name="connsiteX3" fmla="*/ 91423 w 170380"/>
                <a:gd name="connsiteY3" fmla="*/ 60417 h 141627"/>
                <a:gd name="connsiteX4" fmla="*/ 1 w 170380"/>
                <a:gd name="connsiteY4" fmla="*/ 109556 h 141627"/>
                <a:gd name="connsiteX5" fmla="*/ 84852 w 170380"/>
                <a:gd name="connsiteY5" fmla="*/ 140410 h 1416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70380" h="141627">
                  <a:moveTo>
                    <a:pt x="84852" y="140410"/>
                  </a:moveTo>
                  <a:cubicBezTo>
                    <a:pt x="126848" y="133839"/>
                    <a:pt x="158274" y="98414"/>
                    <a:pt x="167131" y="62131"/>
                  </a:cubicBezTo>
                  <a:cubicBezTo>
                    <a:pt x="173130" y="38133"/>
                    <a:pt x="171130" y="4707"/>
                    <a:pt x="158560" y="422"/>
                  </a:cubicBezTo>
                  <a:cubicBezTo>
                    <a:pt x="145133" y="-4149"/>
                    <a:pt x="133419" y="29276"/>
                    <a:pt x="91423" y="60417"/>
                  </a:cubicBezTo>
                  <a:cubicBezTo>
                    <a:pt x="41712" y="97557"/>
                    <a:pt x="287" y="94128"/>
                    <a:pt x="1" y="109556"/>
                  </a:cubicBezTo>
                  <a:cubicBezTo>
                    <a:pt x="-284" y="125554"/>
                    <a:pt x="44284" y="146981"/>
                    <a:pt x="84852" y="140410"/>
                  </a:cubicBezTo>
                  <a:close/>
                </a:path>
              </a:pathLst>
            </a:custGeom>
            <a:solidFill>
              <a:srgbClr val="286B14"/>
            </a:solidFill>
            <a:ln w="2850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93" name="Freeform: Shape 1292">
              <a:extLst>
                <a:ext uri="{FF2B5EF4-FFF2-40B4-BE49-F238E27FC236}">
                  <a16:creationId xmlns:a16="http://schemas.microsoft.com/office/drawing/2014/main" id="{56C97589-AF10-40E1-BAC7-012C7C00E265}"/>
                </a:ext>
              </a:extLst>
            </p:cNvPr>
            <p:cNvSpPr/>
            <p:nvPr/>
          </p:nvSpPr>
          <p:spPr>
            <a:xfrm>
              <a:off x="8263034" y="4172513"/>
              <a:ext cx="170380" cy="141639"/>
            </a:xfrm>
            <a:custGeom>
              <a:avLst/>
              <a:gdLst>
                <a:gd name="connsiteX0" fmla="*/ 84852 w 170380"/>
                <a:gd name="connsiteY0" fmla="*/ 140410 h 141639"/>
                <a:gd name="connsiteX1" fmla="*/ 167131 w 170380"/>
                <a:gd name="connsiteY1" fmla="*/ 62131 h 141639"/>
                <a:gd name="connsiteX2" fmla="*/ 158560 w 170380"/>
                <a:gd name="connsiteY2" fmla="*/ 422 h 141639"/>
                <a:gd name="connsiteX3" fmla="*/ 91423 w 170380"/>
                <a:gd name="connsiteY3" fmla="*/ 60417 h 141639"/>
                <a:gd name="connsiteX4" fmla="*/ 1 w 170380"/>
                <a:gd name="connsiteY4" fmla="*/ 109556 h 141639"/>
                <a:gd name="connsiteX5" fmla="*/ 84852 w 170380"/>
                <a:gd name="connsiteY5" fmla="*/ 140410 h 141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70380" h="141639">
                  <a:moveTo>
                    <a:pt x="84852" y="140410"/>
                  </a:moveTo>
                  <a:cubicBezTo>
                    <a:pt x="126848" y="133839"/>
                    <a:pt x="158274" y="98414"/>
                    <a:pt x="167131" y="62131"/>
                  </a:cubicBezTo>
                  <a:cubicBezTo>
                    <a:pt x="173130" y="38133"/>
                    <a:pt x="171130" y="4707"/>
                    <a:pt x="158560" y="422"/>
                  </a:cubicBezTo>
                  <a:cubicBezTo>
                    <a:pt x="145132" y="-4149"/>
                    <a:pt x="133419" y="29277"/>
                    <a:pt x="91423" y="60417"/>
                  </a:cubicBezTo>
                  <a:cubicBezTo>
                    <a:pt x="41712" y="97557"/>
                    <a:pt x="287" y="94128"/>
                    <a:pt x="1" y="109556"/>
                  </a:cubicBezTo>
                  <a:cubicBezTo>
                    <a:pt x="-284" y="125840"/>
                    <a:pt x="44283" y="146981"/>
                    <a:pt x="84852" y="140410"/>
                  </a:cubicBezTo>
                  <a:close/>
                </a:path>
              </a:pathLst>
            </a:custGeom>
            <a:solidFill>
              <a:srgbClr val="286B14"/>
            </a:solidFill>
            <a:ln w="2850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94" name="Freeform: Shape 1293">
              <a:extLst>
                <a:ext uri="{FF2B5EF4-FFF2-40B4-BE49-F238E27FC236}">
                  <a16:creationId xmlns:a16="http://schemas.microsoft.com/office/drawing/2014/main" id="{BCCC364D-8230-4EA8-9598-6603C574CB67}"/>
                </a:ext>
              </a:extLst>
            </p:cNvPr>
            <p:cNvSpPr/>
            <p:nvPr/>
          </p:nvSpPr>
          <p:spPr>
            <a:xfrm>
              <a:off x="8325311" y="4183369"/>
              <a:ext cx="170384" cy="141627"/>
            </a:xfrm>
            <a:custGeom>
              <a:avLst/>
              <a:gdLst>
                <a:gd name="connsiteX0" fmla="*/ 84856 w 170384"/>
                <a:gd name="connsiteY0" fmla="*/ 140410 h 141627"/>
                <a:gd name="connsiteX1" fmla="*/ 167135 w 170384"/>
                <a:gd name="connsiteY1" fmla="*/ 62131 h 141627"/>
                <a:gd name="connsiteX2" fmla="*/ 158564 w 170384"/>
                <a:gd name="connsiteY2" fmla="*/ 422 h 141627"/>
                <a:gd name="connsiteX3" fmla="*/ 91427 w 170384"/>
                <a:gd name="connsiteY3" fmla="*/ 60417 h 141627"/>
                <a:gd name="connsiteX4" fmla="*/ 5 w 170384"/>
                <a:gd name="connsiteY4" fmla="*/ 109556 h 141627"/>
                <a:gd name="connsiteX5" fmla="*/ 84856 w 170384"/>
                <a:gd name="connsiteY5" fmla="*/ 140410 h 1416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70384" h="141627">
                  <a:moveTo>
                    <a:pt x="84856" y="140410"/>
                  </a:moveTo>
                  <a:cubicBezTo>
                    <a:pt x="126852" y="133839"/>
                    <a:pt x="158278" y="98414"/>
                    <a:pt x="167135" y="62131"/>
                  </a:cubicBezTo>
                  <a:cubicBezTo>
                    <a:pt x="173134" y="38133"/>
                    <a:pt x="171134" y="4707"/>
                    <a:pt x="158564" y="422"/>
                  </a:cubicBezTo>
                  <a:cubicBezTo>
                    <a:pt x="145136" y="-4149"/>
                    <a:pt x="133423" y="29276"/>
                    <a:pt x="91427" y="60417"/>
                  </a:cubicBezTo>
                  <a:cubicBezTo>
                    <a:pt x="41716" y="97557"/>
                    <a:pt x="291" y="94128"/>
                    <a:pt x="5" y="109556"/>
                  </a:cubicBezTo>
                  <a:cubicBezTo>
                    <a:pt x="-566" y="125554"/>
                    <a:pt x="44002" y="146981"/>
                    <a:pt x="84856" y="140410"/>
                  </a:cubicBezTo>
                  <a:close/>
                </a:path>
              </a:pathLst>
            </a:custGeom>
            <a:solidFill>
              <a:srgbClr val="286B14"/>
            </a:solidFill>
            <a:ln w="2850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grpSp>
          <p:nvGrpSpPr>
            <p:cNvPr id="1295" name="Graphic 1287">
              <a:extLst>
                <a:ext uri="{FF2B5EF4-FFF2-40B4-BE49-F238E27FC236}">
                  <a16:creationId xmlns:a16="http://schemas.microsoft.com/office/drawing/2014/main" id="{3AF0CC9A-49BC-41AD-A10C-81F1C9646867}"/>
                </a:ext>
              </a:extLst>
            </p:cNvPr>
            <p:cNvGrpSpPr/>
            <p:nvPr/>
          </p:nvGrpSpPr>
          <p:grpSpPr>
            <a:xfrm>
              <a:off x="6820867" y="4211217"/>
              <a:ext cx="1041915" cy="174985"/>
              <a:chOff x="6820867" y="4211217"/>
              <a:chExt cx="1041915" cy="174985"/>
            </a:xfrm>
            <a:solidFill>
              <a:srgbClr val="61B521"/>
            </a:solidFill>
          </p:grpSpPr>
          <p:sp>
            <p:nvSpPr>
              <p:cNvPr id="1296" name="Freeform: Shape 1295">
                <a:extLst>
                  <a:ext uri="{FF2B5EF4-FFF2-40B4-BE49-F238E27FC236}">
                    <a16:creationId xmlns:a16="http://schemas.microsoft.com/office/drawing/2014/main" id="{8FD925BF-A9C1-4FAA-9E8F-8CCC6BD24D5B}"/>
                  </a:ext>
                </a:extLst>
              </p:cNvPr>
              <p:cNvSpPr/>
              <p:nvPr/>
            </p:nvSpPr>
            <p:spPr>
              <a:xfrm>
                <a:off x="7793645" y="4264356"/>
                <a:ext cx="69137" cy="50433"/>
              </a:xfrm>
              <a:custGeom>
                <a:avLst/>
                <a:gdLst>
                  <a:gd name="connsiteX0" fmla="*/ 69137 w 69137"/>
                  <a:gd name="connsiteY0" fmla="*/ 0 h 50433"/>
                  <a:gd name="connsiteX1" fmla="*/ 46282 w 69137"/>
                  <a:gd name="connsiteY1" fmla="*/ 46568 h 50433"/>
                  <a:gd name="connsiteX2" fmla="*/ 34569 w 69137"/>
                  <a:gd name="connsiteY2" fmla="*/ 47996 h 50433"/>
                  <a:gd name="connsiteX3" fmla="*/ 0 w 69137"/>
                  <a:gd name="connsiteY3" fmla="*/ 11142 h 50433"/>
                  <a:gd name="connsiteX4" fmla="*/ 69137 w 69137"/>
                  <a:gd name="connsiteY4" fmla="*/ 0 h 504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9137" h="50433">
                    <a:moveTo>
                      <a:pt x="69137" y="0"/>
                    </a:moveTo>
                    <a:lnTo>
                      <a:pt x="46282" y="46568"/>
                    </a:lnTo>
                    <a:cubicBezTo>
                      <a:pt x="43996" y="51139"/>
                      <a:pt x="37997" y="51710"/>
                      <a:pt x="34569" y="47996"/>
                    </a:cubicBezTo>
                    <a:cubicBezTo>
                      <a:pt x="23141" y="35140"/>
                      <a:pt x="11713" y="23141"/>
                      <a:pt x="0" y="11142"/>
                    </a:cubicBezTo>
                    <a:cubicBezTo>
                      <a:pt x="23141" y="7142"/>
                      <a:pt x="45996" y="3143"/>
                      <a:pt x="69137" y="0"/>
                    </a:cubicBezTo>
                    <a:close/>
                  </a:path>
                </a:pathLst>
              </a:custGeom>
              <a:solidFill>
                <a:srgbClr val="61B521"/>
              </a:solidFill>
              <a:ln w="2850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297" name="Freeform: Shape 1296">
                <a:extLst>
                  <a:ext uri="{FF2B5EF4-FFF2-40B4-BE49-F238E27FC236}">
                    <a16:creationId xmlns:a16="http://schemas.microsoft.com/office/drawing/2014/main" id="{EF0D5213-6499-40F5-BC1B-7C395DD383DF}"/>
                  </a:ext>
                </a:extLst>
              </p:cNvPr>
              <p:cNvSpPr/>
              <p:nvPr/>
            </p:nvSpPr>
            <p:spPr>
              <a:xfrm>
                <a:off x="7725936" y="4275498"/>
                <a:ext cx="67994" cy="48397"/>
              </a:xfrm>
              <a:custGeom>
                <a:avLst/>
                <a:gdLst>
                  <a:gd name="connsiteX0" fmla="*/ 67994 w 67994"/>
                  <a:gd name="connsiteY0" fmla="*/ 0 h 48397"/>
                  <a:gd name="connsiteX1" fmla="*/ 46282 w 67994"/>
                  <a:gd name="connsiteY1" fmla="*/ 44568 h 48397"/>
                  <a:gd name="connsiteX2" fmla="*/ 34569 w 67994"/>
                  <a:gd name="connsiteY2" fmla="*/ 46282 h 48397"/>
                  <a:gd name="connsiteX3" fmla="*/ 0 w 67994"/>
                  <a:gd name="connsiteY3" fmla="*/ 12856 h 48397"/>
                  <a:gd name="connsiteX4" fmla="*/ 67994 w 67994"/>
                  <a:gd name="connsiteY4" fmla="*/ 0 h 483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7994" h="48397">
                    <a:moveTo>
                      <a:pt x="67994" y="0"/>
                    </a:moveTo>
                    <a:lnTo>
                      <a:pt x="46282" y="44568"/>
                    </a:lnTo>
                    <a:cubicBezTo>
                      <a:pt x="44282" y="48853"/>
                      <a:pt x="37997" y="49710"/>
                      <a:pt x="34569" y="46282"/>
                    </a:cubicBezTo>
                    <a:cubicBezTo>
                      <a:pt x="23141" y="34854"/>
                      <a:pt x="11428" y="23712"/>
                      <a:pt x="0" y="12856"/>
                    </a:cubicBezTo>
                    <a:lnTo>
                      <a:pt x="67994" y="0"/>
                    </a:lnTo>
                    <a:close/>
                  </a:path>
                </a:pathLst>
              </a:custGeom>
              <a:solidFill>
                <a:srgbClr val="61B521"/>
              </a:solidFill>
              <a:ln w="2850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298" name="Freeform: Shape 1297">
                <a:extLst>
                  <a:ext uri="{FF2B5EF4-FFF2-40B4-BE49-F238E27FC236}">
                    <a16:creationId xmlns:a16="http://schemas.microsoft.com/office/drawing/2014/main" id="{9CCF1764-A29E-4073-B63A-5FAB385A62D4}"/>
                  </a:ext>
                </a:extLst>
              </p:cNvPr>
              <p:cNvSpPr/>
              <p:nvPr/>
            </p:nvSpPr>
            <p:spPr>
              <a:xfrm>
                <a:off x="7657942" y="4288354"/>
                <a:ext cx="67708" cy="45618"/>
              </a:xfrm>
              <a:custGeom>
                <a:avLst/>
                <a:gdLst>
                  <a:gd name="connsiteX0" fmla="*/ 67709 w 67708"/>
                  <a:gd name="connsiteY0" fmla="*/ 0 h 45618"/>
                  <a:gd name="connsiteX1" fmla="*/ 45996 w 67708"/>
                  <a:gd name="connsiteY1" fmla="*/ 41997 h 45618"/>
                  <a:gd name="connsiteX2" fmla="*/ 34283 w 67708"/>
                  <a:gd name="connsiteY2" fmla="*/ 43711 h 45618"/>
                  <a:gd name="connsiteX3" fmla="*/ 0 w 67708"/>
                  <a:gd name="connsiteY3" fmla="*/ 13142 h 45618"/>
                  <a:gd name="connsiteX4" fmla="*/ 67709 w 67708"/>
                  <a:gd name="connsiteY4" fmla="*/ 0 h 456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7708" h="45618">
                    <a:moveTo>
                      <a:pt x="67709" y="0"/>
                    </a:moveTo>
                    <a:cubicBezTo>
                      <a:pt x="60566" y="14285"/>
                      <a:pt x="53139" y="28283"/>
                      <a:pt x="45996" y="41997"/>
                    </a:cubicBezTo>
                    <a:cubicBezTo>
                      <a:pt x="43996" y="45996"/>
                      <a:pt x="37711" y="46853"/>
                      <a:pt x="34283" y="43711"/>
                    </a:cubicBezTo>
                    <a:cubicBezTo>
                      <a:pt x="22855" y="33140"/>
                      <a:pt x="11428" y="22855"/>
                      <a:pt x="0" y="13142"/>
                    </a:cubicBezTo>
                    <a:lnTo>
                      <a:pt x="67709" y="0"/>
                    </a:lnTo>
                    <a:close/>
                  </a:path>
                </a:pathLst>
              </a:custGeom>
              <a:solidFill>
                <a:srgbClr val="61B521"/>
              </a:solidFill>
              <a:ln w="2850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299" name="Freeform: Shape 1298">
                <a:extLst>
                  <a:ext uri="{FF2B5EF4-FFF2-40B4-BE49-F238E27FC236}">
                    <a16:creationId xmlns:a16="http://schemas.microsoft.com/office/drawing/2014/main" id="{F9A5A15C-C97E-42DB-A532-A4332989A669}"/>
                  </a:ext>
                </a:extLst>
              </p:cNvPr>
              <p:cNvSpPr/>
              <p:nvPr/>
            </p:nvSpPr>
            <p:spPr>
              <a:xfrm>
                <a:off x="7589947" y="4301495"/>
                <a:ext cx="67708" cy="42840"/>
              </a:xfrm>
              <a:custGeom>
                <a:avLst/>
                <a:gdLst>
                  <a:gd name="connsiteX0" fmla="*/ 67709 w 67708"/>
                  <a:gd name="connsiteY0" fmla="*/ 0 h 42840"/>
                  <a:gd name="connsiteX1" fmla="*/ 45425 w 67708"/>
                  <a:gd name="connsiteY1" fmla="*/ 39425 h 42840"/>
                  <a:gd name="connsiteX2" fmla="*/ 33712 w 67708"/>
                  <a:gd name="connsiteY2" fmla="*/ 41140 h 42840"/>
                  <a:gd name="connsiteX3" fmla="*/ 0 w 67708"/>
                  <a:gd name="connsiteY3" fmla="*/ 13142 h 42840"/>
                  <a:gd name="connsiteX4" fmla="*/ 67709 w 67708"/>
                  <a:gd name="connsiteY4" fmla="*/ 0 h 428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7708" h="42840">
                    <a:moveTo>
                      <a:pt x="67709" y="0"/>
                    </a:moveTo>
                    <a:cubicBezTo>
                      <a:pt x="60281" y="13428"/>
                      <a:pt x="53139" y="26569"/>
                      <a:pt x="45425" y="39425"/>
                    </a:cubicBezTo>
                    <a:cubicBezTo>
                      <a:pt x="43139" y="43139"/>
                      <a:pt x="36854" y="43996"/>
                      <a:pt x="33712" y="41140"/>
                    </a:cubicBezTo>
                    <a:cubicBezTo>
                      <a:pt x="22284" y="31426"/>
                      <a:pt x="11142" y="22284"/>
                      <a:pt x="0" y="13142"/>
                    </a:cubicBezTo>
                    <a:lnTo>
                      <a:pt x="67709" y="0"/>
                    </a:lnTo>
                    <a:close/>
                  </a:path>
                </a:pathLst>
              </a:custGeom>
              <a:solidFill>
                <a:srgbClr val="61B521"/>
              </a:solidFill>
              <a:ln w="2850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300" name="Freeform: Shape 1299">
                <a:extLst>
                  <a:ext uri="{FF2B5EF4-FFF2-40B4-BE49-F238E27FC236}">
                    <a16:creationId xmlns:a16="http://schemas.microsoft.com/office/drawing/2014/main" id="{59DE5935-DD40-4505-BCEA-CB5F6DC68A03}"/>
                  </a:ext>
                </a:extLst>
              </p:cNvPr>
              <p:cNvSpPr/>
              <p:nvPr/>
            </p:nvSpPr>
            <p:spPr>
              <a:xfrm>
                <a:off x="7522239" y="4314923"/>
                <a:ext cx="67708" cy="39777"/>
              </a:xfrm>
              <a:custGeom>
                <a:avLst/>
                <a:gdLst>
                  <a:gd name="connsiteX0" fmla="*/ 67709 w 67708"/>
                  <a:gd name="connsiteY0" fmla="*/ 0 h 39777"/>
                  <a:gd name="connsiteX1" fmla="*/ 44854 w 67708"/>
                  <a:gd name="connsiteY1" fmla="*/ 36568 h 39777"/>
                  <a:gd name="connsiteX2" fmla="*/ 33140 w 67708"/>
                  <a:gd name="connsiteY2" fmla="*/ 38283 h 39777"/>
                  <a:gd name="connsiteX3" fmla="*/ 0 w 67708"/>
                  <a:gd name="connsiteY3" fmla="*/ 12856 h 39777"/>
                  <a:gd name="connsiteX4" fmla="*/ 67709 w 67708"/>
                  <a:gd name="connsiteY4" fmla="*/ 0 h 397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7708" h="39777">
                    <a:moveTo>
                      <a:pt x="67709" y="0"/>
                    </a:moveTo>
                    <a:cubicBezTo>
                      <a:pt x="60281" y="12570"/>
                      <a:pt x="52567" y="24855"/>
                      <a:pt x="44854" y="36568"/>
                    </a:cubicBezTo>
                    <a:cubicBezTo>
                      <a:pt x="42568" y="39997"/>
                      <a:pt x="36283" y="40854"/>
                      <a:pt x="33140" y="38283"/>
                    </a:cubicBezTo>
                    <a:cubicBezTo>
                      <a:pt x="21998" y="29426"/>
                      <a:pt x="10856" y="20855"/>
                      <a:pt x="0" y="12856"/>
                    </a:cubicBezTo>
                    <a:lnTo>
                      <a:pt x="67709" y="0"/>
                    </a:lnTo>
                    <a:close/>
                  </a:path>
                </a:pathLst>
              </a:custGeom>
              <a:solidFill>
                <a:srgbClr val="61B521"/>
              </a:solidFill>
              <a:ln w="2850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301" name="Freeform: Shape 1300">
                <a:extLst>
                  <a:ext uri="{FF2B5EF4-FFF2-40B4-BE49-F238E27FC236}">
                    <a16:creationId xmlns:a16="http://schemas.microsoft.com/office/drawing/2014/main" id="{92BEDCCC-C997-4986-A442-A34249C1CCA5}"/>
                  </a:ext>
                </a:extLst>
              </p:cNvPr>
              <p:cNvSpPr/>
              <p:nvPr/>
            </p:nvSpPr>
            <p:spPr>
              <a:xfrm>
                <a:off x="7454530" y="4327493"/>
                <a:ext cx="67708" cy="36716"/>
              </a:xfrm>
              <a:custGeom>
                <a:avLst/>
                <a:gdLst>
                  <a:gd name="connsiteX0" fmla="*/ 67709 w 67708"/>
                  <a:gd name="connsiteY0" fmla="*/ 0 h 36716"/>
                  <a:gd name="connsiteX1" fmla="*/ 43996 w 67708"/>
                  <a:gd name="connsiteY1" fmla="*/ 33712 h 36716"/>
                  <a:gd name="connsiteX2" fmla="*/ 32283 w 67708"/>
                  <a:gd name="connsiteY2" fmla="*/ 35426 h 36716"/>
                  <a:gd name="connsiteX3" fmla="*/ 0 w 67708"/>
                  <a:gd name="connsiteY3" fmla="*/ 11999 h 36716"/>
                  <a:gd name="connsiteX4" fmla="*/ 67709 w 67708"/>
                  <a:gd name="connsiteY4" fmla="*/ 0 h 367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7708" h="36716">
                    <a:moveTo>
                      <a:pt x="67709" y="0"/>
                    </a:moveTo>
                    <a:cubicBezTo>
                      <a:pt x="59995" y="11713"/>
                      <a:pt x="51996" y="22855"/>
                      <a:pt x="43996" y="33712"/>
                    </a:cubicBezTo>
                    <a:cubicBezTo>
                      <a:pt x="41711" y="36854"/>
                      <a:pt x="35426" y="37711"/>
                      <a:pt x="32283" y="35426"/>
                    </a:cubicBezTo>
                    <a:cubicBezTo>
                      <a:pt x="21427" y="27426"/>
                      <a:pt x="10571" y="19427"/>
                      <a:pt x="0" y="11999"/>
                    </a:cubicBezTo>
                    <a:lnTo>
                      <a:pt x="67709" y="0"/>
                    </a:lnTo>
                    <a:close/>
                  </a:path>
                </a:pathLst>
              </a:custGeom>
              <a:solidFill>
                <a:srgbClr val="61B521"/>
              </a:solidFill>
              <a:ln w="2850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302" name="Freeform: Shape 1301">
                <a:extLst>
                  <a:ext uri="{FF2B5EF4-FFF2-40B4-BE49-F238E27FC236}">
                    <a16:creationId xmlns:a16="http://schemas.microsoft.com/office/drawing/2014/main" id="{7F855E30-E5C4-4ED1-8D7E-B06125960BA3}"/>
                  </a:ext>
                </a:extLst>
              </p:cNvPr>
              <p:cNvSpPr/>
              <p:nvPr/>
            </p:nvSpPr>
            <p:spPr>
              <a:xfrm>
                <a:off x="7386535" y="4339492"/>
                <a:ext cx="67994" cy="33305"/>
              </a:xfrm>
              <a:custGeom>
                <a:avLst/>
                <a:gdLst>
                  <a:gd name="connsiteX0" fmla="*/ 67994 w 67994"/>
                  <a:gd name="connsiteY0" fmla="*/ 0 h 33305"/>
                  <a:gd name="connsiteX1" fmla="*/ 43425 w 67994"/>
                  <a:gd name="connsiteY1" fmla="*/ 30569 h 33305"/>
                  <a:gd name="connsiteX2" fmla="*/ 31426 w 67994"/>
                  <a:gd name="connsiteY2" fmla="*/ 31997 h 33305"/>
                  <a:gd name="connsiteX3" fmla="*/ 0 w 67994"/>
                  <a:gd name="connsiteY3" fmla="*/ 10571 h 33305"/>
                  <a:gd name="connsiteX4" fmla="*/ 67994 w 67994"/>
                  <a:gd name="connsiteY4" fmla="*/ 0 h 333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7994" h="33305">
                    <a:moveTo>
                      <a:pt x="67994" y="0"/>
                    </a:moveTo>
                    <a:cubicBezTo>
                      <a:pt x="59995" y="10571"/>
                      <a:pt x="51710" y="20570"/>
                      <a:pt x="43425" y="30569"/>
                    </a:cubicBezTo>
                    <a:cubicBezTo>
                      <a:pt x="40854" y="33426"/>
                      <a:pt x="34569" y="34283"/>
                      <a:pt x="31426" y="31997"/>
                    </a:cubicBezTo>
                    <a:cubicBezTo>
                      <a:pt x="20855" y="24569"/>
                      <a:pt x="10285" y="17427"/>
                      <a:pt x="0" y="10571"/>
                    </a:cubicBezTo>
                    <a:cubicBezTo>
                      <a:pt x="22570" y="7142"/>
                      <a:pt x="45139" y="3714"/>
                      <a:pt x="67994" y="0"/>
                    </a:cubicBezTo>
                    <a:close/>
                  </a:path>
                </a:pathLst>
              </a:custGeom>
              <a:solidFill>
                <a:srgbClr val="61B521"/>
              </a:solidFill>
              <a:ln w="2850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303" name="Freeform: Shape 1302">
                <a:extLst>
                  <a:ext uri="{FF2B5EF4-FFF2-40B4-BE49-F238E27FC236}">
                    <a16:creationId xmlns:a16="http://schemas.microsoft.com/office/drawing/2014/main" id="{D4BD755B-A697-4951-B0DB-867E658D85E8}"/>
                  </a:ext>
                </a:extLst>
              </p:cNvPr>
              <p:cNvSpPr/>
              <p:nvPr/>
            </p:nvSpPr>
            <p:spPr>
              <a:xfrm>
                <a:off x="7318255" y="4350063"/>
                <a:ext cx="68280" cy="29486"/>
              </a:xfrm>
              <a:custGeom>
                <a:avLst/>
                <a:gdLst>
                  <a:gd name="connsiteX0" fmla="*/ 68280 w 68280"/>
                  <a:gd name="connsiteY0" fmla="*/ 0 h 29486"/>
                  <a:gd name="connsiteX1" fmla="*/ 42568 w 68280"/>
                  <a:gd name="connsiteY1" fmla="*/ 27141 h 29486"/>
                  <a:gd name="connsiteX2" fmla="*/ 30569 w 68280"/>
                  <a:gd name="connsiteY2" fmla="*/ 28283 h 29486"/>
                  <a:gd name="connsiteX3" fmla="*/ 0 w 68280"/>
                  <a:gd name="connsiteY3" fmla="*/ 8856 h 29486"/>
                  <a:gd name="connsiteX4" fmla="*/ 68280 w 68280"/>
                  <a:gd name="connsiteY4" fmla="*/ 0 h 294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8280" h="29486">
                    <a:moveTo>
                      <a:pt x="68280" y="0"/>
                    </a:moveTo>
                    <a:cubicBezTo>
                      <a:pt x="59995" y="9428"/>
                      <a:pt x="51424" y="18570"/>
                      <a:pt x="42568" y="27141"/>
                    </a:cubicBezTo>
                    <a:cubicBezTo>
                      <a:pt x="39997" y="29712"/>
                      <a:pt x="33712" y="30283"/>
                      <a:pt x="30569" y="28283"/>
                    </a:cubicBezTo>
                    <a:cubicBezTo>
                      <a:pt x="20284" y="21427"/>
                      <a:pt x="9999" y="15142"/>
                      <a:pt x="0" y="8856"/>
                    </a:cubicBezTo>
                    <a:cubicBezTo>
                      <a:pt x="22855" y="6285"/>
                      <a:pt x="45425" y="3143"/>
                      <a:pt x="68280" y="0"/>
                    </a:cubicBezTo>
                    <a:close/>
                  </a:path>
                </a:pathLst>
              </a:custGeom>
              <a:solidFill>
                <a:srgbClr val="61B521"/>
              </a:solidFill>
              <a:ln w="2850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304" name="Freeform: Shape 1303">
                <a:extLst>
                  <a:ext uri="{FF2B5EF4-FFF2-40B4-BE49-F238E27FC236}">
                    <a16:creationId xmlns:a16="http://schemas.microsoft.com/office/drawing/2014/main" id="{BCE44172-5CB1-4731-8939-AEA56FA55894}"/>
                  </a:ext>
                </a:extLst>
              </p:cNvPr>
              <p:cNvSpPr/>
              <p:nvPr/>
            </p:nvSpPr>
            <p:spPr>
              <a:xfrm>
                <a:off x="7249975" y="4358919"/>
                <a:ext cx="68280" cy="25621"/>
              </a:xfrm>
              <a:custGeom>
                <a:avLst/>
                <a:gdLst>
                  <a:gd name="connsiteX0" fmla="*/ 68280 w 68280"/>
                  <a:gd name="connsiteY0" fmla="*/ 0 h 25621"/>
                  <a:gd name="connsiteX1" fmla="*/ 41711 w 68280"/>
                  <a:gd name="connsiteY1" fmla="*/ 23712 h 25621"/>
                  <a:gd name="connsiteX2" fmla="*/ 29712 w 68280"/>
                  <a:gd name="connsiteY2" fmla="*/ 24284 h 25621"/>
                  <a:gd name="connsiteX3" fmla="*/ 0 w 68280"/>
                  <a:gd name="connsiteY3" fmla="*/ 6285 h 25621"/>
                  <a:gd name="connsiteX4" fmla="*/ 68280 w 68280"/>
                  <a:gd name="connsiteY4" fmla="*/ 0 h 256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8280" h="25621">
                    <a:moveTo>
                      <a:pt x="68280" y="0"/>
                    </a:moveTo>
                    <a:cubicBezTo>
                      <a:pt x="59424" y="8285"/>
                      <a:pt x="50567" y="16284"/>
                      <a:pt x="41711" y="23712"/>
                    </a:cubicBezTo>
                    <a:cubicBezTo>
                      <a:pt x="39140" y="25998"/>
                      <a:pt x="32569" y="26284"/>
                      <a:pt x="29712" y="24284"/>
                    </a:cubicBezTo>
                    <a:lnTo>
                      <a:pt x="0" y="6285"/>
                    </a:lnTo>
                    <a:cubicBezTo>
                      <a:pt x="22570" y="4571"/>
                      <a:pt x="45425" y="2285"/>
                      <a:pt x="68280" y="0"/>
                    </a:cubicBezTo>
                    <a:close/>
                  </a:path>
                </a:pathLst>
              </a:custGeom>
              <a:solidFill>
                <a:srgbClr val="61B521"/>
              </a:solidFill>
              <a:ln w="2850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305" name="Freeform: Shape 1304">
                <a:extLst>
                  <a:ext uri="{FF2B5EF4-FFF2-40B4-BE49-F238E27FC236}">
                    <a16:creationId xmlns:a16="http://schemas.microsoft.com/office/drawing/2014/main" id="{E1E43E2B-13D6-458D-9554-0B339DD1ADBF}"/>
                  </a:ext>
                </a:extLst>
              </p:cNvPr>
              <p:cNvSpPr/>
              <p:nvPr/>
            </p:nvSpPr>
            <p:spPr>
              <a:xfrm>
                <a:off x="7181695" y="4365205"/>
                <a:ext cx="68280" cy="20998"/>
              </a:xfrm>
              <a:custGeom>
                <a:avLst/>
                <a:gdLst>
                  <a:gd name="connsiteX0" fmla="*/ 68280 w 68280"/>
                  <a:gd name="connsiteY0" fmla="*/ 0 h 20998"/>
                  <a:gd name="connsiteX1" fmla="*/ 40568 w 68280"/>
                  <a:gd name="connsiteY1" fmla="*/ 19713 h 20998"/>
                  <a:gd name="connsiteX2" fmla="*/ 28569 w 68280"/>
                  <a:gd name="connsiteY2" fmla="*/ 19713 h 20998"/>
                  <a:gd name="connsiteX3" fmla="*/ 0 w 68280"/>
                  <a:gd name="connsiteY3" fmla="*/ 3143 h 20998"/>
                  <a:gd name="connsiteX4" fmla="*/ 68280 w 68280"/>
                  <a:gd name="connsiteY4" fmla="*/ 0 h 209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8280" h="20998">
                    <a:moveTo>
                      <a:pt x="68280" y="0"/>
                    </a:moveTo>
                    <a:cubicBezTo>
                      <a:pt x="59138" y="7142"/>
                      <a:pt x="49996" y="13713"/>
                      <a:pt x="40568" y="19713"/>
                    </a:cubicBezTo>
                    <a:cubicBezTo>
                      <a:pt x="37711" y="21427"/>
                      <a:pt x="31426" y="21427"/>
                      <a:pt x="28569" y="19713"/>
                    </a:cubicBezTo>
                    <a:cubicBezTo>
                      <a:pt x="18856" y="13999"/>
                      <a:pt x="9428" y="8285"/>
                      <a:pt x="0" y="3143"/>
                    </a:cubicBezTo>
                    <a:cubicBezTo>
                      <a:pt x="22570" y="2571"/>
                      <a:pt x="45425" y="1714"/>
                      <a:pt x="68280" y="0"/>
                    </a:cubicBezTo>
                    <a:close/>
                  </a:path>
                </a:pathLst>
              </a:custGeom>
              <a:solidFill>
                <a:srgbClr val="61B521"/>
              </a:solidFill>
              <a:ln w="2850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306" name="Freeform: Shape 1305">
                <a:extLst>
                  <a:ext uri="{FF2B5EF4-FFF2-40B4-BE49-F238E27FC236}">
                    <a16:creationId xmlns:a16="http://schemas.microsoft.com/office/drawing/2014/main" id="{832AF13F-E9A6-4573-90E9-22DFE640A2D7}"/>
                  </a:ext>
                </a:extLst>
              </p:cNvPr>
              <p:cNvSpPr/>
              <p:nvPr/>
            </p:nvSpPr>
            <p:spPr>
              <a:xfrm>
                <a:off x="7113129" y="4366347"/>
                <a:ext cx="68280" cy="17951"/>
              </a:xfrm>
              <a:custGeom>
                <a:avLst/>
                <a:gdLst>
                  <a:gd name="connsiteX0" fmla="*/ 68280 w 68280"/>
                  <a:gd name="connsiteY0" fmla="*/ 2000 h 17951"/>
                  <a:gd name="connsiteX1" fmla="*/ 39425 w 68280"/>
                  <a:gd name="connsiteY1" fmla="*/ 17142 h 17951"/>
                  <a:gd name="connsiteX2" fmla="*/ 27426 w 68280"/>
                  <a:gd name="connsiteY2" fmla="*/ 16284 h 17951"/>
                  <a:gd name="connsiteX3" fmla="*/ 0 w 68280"/>
                  <a:gd name="connsiteY3" fmla="*/ 0 h 17951"/>
                  <a:gd name="connsiteX4" fmla="*/ 68280 w 68280"/>
                  <a:gd name="connsiteY4" fmla="*/ 2000 h 179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8280" h="17951">
                    <a:moveTo>
                      <a:pt x="68280" y="2000"/>
                    </a:moveTo>
                    <a:cubicBezTo>
                      <a:pt x="58852" y="7714"/>
                      <a:pt x="49139" y="12570"/>
                      <a:pt x="39425" y="17142"/>
                    </a:cubicBezTo>
                    <a:cubicBezTo>
                      <a:pt x="36568" y="18570"/>
                      <a:pt x="30283" y="17999"/>
                      <a:pt x="27426" y="16284"/>
                    </a:cubicBezTo>
                    <a:lnTo>
                      <a:pt x="0" y="0"/>
                    </a:lnTo>
                    <a:cubicBezTo>
                      <a:pt x="22570" y="2000"/>
                      <a:pt x="45425" y="2286"/>
                      <a:pt x="68280" y="2000"/>
                    </a:cubicBezTo>
                    <a:close/>
                  </a:path>
                </a:pathLst>
              </a:custGeom>
              <a:solidFill>
                <a:srgbClr val="61B521"/>
              </a:solidFill>
              <a:ln w="2850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307" name="Freeform: Shape 1306">
                <a:extLst>
                  <a:ext uri="{FF2B5EF4-FFF2-40B4-BE49-F238E27FC236}">
                    <a16:creationId xmlns:a16="http://schemas.microsoft.com/office/drawing/2014/main" id="{7FB27417-951A-4695-81AD-8D2E953A9EC4}"/>
                  </a:ext>
                </a:extLst>
              </p:cNvPr>
              <p:cNvSpPr/>
              <p:nvPr/>
            </p:nvSpPr>
            <p:spPr>
              <a:xfrm>
                <a:off x="7045420" y="4357491"/>
                <a:ext cx="67708" cy="19147"/>
              </a:xfrm>
              <a:custGeom>
                <a:avLst/>
                <a:gdLst>
                  <a:gd name="connsiteX0" fmla="*/ 67709 w 67708"/>
                  <a:gd name="connsiteY0" fmla="*/ 9142 h 19147"/>
                  <a:gd name="connsiteX1" fmla="*/ 37711 w 67708"/>
                  <a:gd name="connsiteY1" fmla="*/ 18856 h 19147"/>
                  <a:gd name="connsiteX2" fmla="*/ 25712 w 67708"/>
                  <a:gd name="connsiteY2" fmla="*/ 16856 h 19147"/>
                  <a:gd name="connsiteX3" fmla="*/ 0 w 67708"/>
                  <a:gd name="connsiteY3" fmla="*/ 0 h 19147"/>
                  <a:gd name="connsiteX4" fmla="*/ 16856 w 67708"/>
                  <a:gd name="connsiteY4" fmla="*/ 3143 h 19147"/>
                  <a:gd name="connsiteX5" fmla="*/ 33712 w 67708"/>
                  <a:gd name="connsiteY5" fmla="*/ 5714 h 19147"/>
                  <a:gd name="connsiteX6" fmla="*/ 67709 w 67708"/>
                  <a:gd name="connsiteY6" fmla="*/ 9142 h 191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7708" h="19147">
                    <a:moveTo>
                      <a:pt x="67709" y="9142"/>
                    </a:moveTo>
                    <a:cubicBezTo>
                      <a:pt x="57995" y="13142"/>
                      <a:pt x="47996" y="16284"/>
                      <a:pt x="37711" y="18856"/>
                    </a:cubicBezTo>
                    <a:cubicBezTo>
                      <a:pt x="34854" y="19713"/>
                      <a:pt x="28283" y="18570"/>
                      <a:pt x="25712" y="16856"/>
                    </a:cubicBezTo>
                    <a:cubicBezTo>
                      <a:pt x="16856" y="10856"/>
                      <a:pt x="8285" y="5714"/>
                      <a:pt x="0" y="0"/>
                    </a:cubicBezTo>
                    <a:cubicBezTo>
                      <a:pt x="5428" y="1429"/>
                      <a:pt x="11142" y="2286"/>
                      <a:pt x="16856" y="3143"/>
                    </a:cubicBezTo>
                    <a:cubicBezTo>
                      <a:pt x="22570" y="4000"/>
                      <a:pt x="27998" y="5142"/>
                      <a:pt x="33712" y="5714"/>
                    </a:cubicBezTo>
                    <a:cubicBezTo>
                      <a:pt x="44854" y="7142"/>
                      <a:pt x="56281" y="8285"/>
                      <a:pt x="67709" y="9142"/>
                    </a:cubicBezTo>
                    <a:close/>
                  </a:path>
                </a:pathLst>
              </a:custGeom>
              <a:solidFill>
                <a:srgbClr val="61B521"/>
              </a:solidFill>
              <a:ln w="2850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308" name="Freeform: Shape 1307">
                <a:extLst>
                  <a:ext uri="{FF2B5EF4-FFF2-40B4-BE49-F238E27FC236}">
                    <a16:creationId xmlns:a16="http://schemas.microsoft.com/office/drawing/2014/main" id="{2A77741F-E86A-47DF-9138-A71D6A09E9CA}"/>
                  </a:ext>
                </a:extLst>
              </p:cNvPr>
              <p:cNvSpPr/>
              <p:nvPr/>
            </p:nvSpPr>
            <p:spPr>
              <a:xfrm>
                <a:off x="6980854" y="4336635"/>
                <a:ext cx="64566" cy="23195"/>
              </a:xfrm>
              <a:custGeom>
                <a:avLst/>
                <a:gdLst>
                  <a:gd name="connsiteX0" fmla="*/ 64566 w 64566"/>
                  <a:gd name="connsiteY0" fmla="*/ 20855 h 23195"/>
                  <a:gd name="connsiteX1" fmla="*/ 34283 w 64566"/>
                  <a:gd name="connsiteY1" fmla="*/ 23141 h 23195"/>
                  <a:gd name="connsiteX2" fmla="*/ 22855 w 64566"/>
                  <a:gd name="connsiteY2" fmla="*/ 19141 h 23195"/>
                  <a:gd name="connsiteX3" fmla="*/ 0 w 64566"/>
                  <a:gd name="connsiteY3" fmla="*/ 0 h 23195"/>
                  <a:gd name="connsiteX4" fmla="*/ 15713 w 64566"/>
                  <a:gd name="connsiteY4" fmla="*/ 6571 h 23195"/>
                  <a:gd name="connsiteX5" fmla="*/ 31712 w 64566"/>
                  <a:gd name="connsiteY5" fmla="*/ 12285 h 23195"/>
                  <a:gd name="connsiteX6" fmla="*/ 64566 w 64566"/>
                  <a:gd name="connsiteY6" fmla="*/ 20855 h 231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4566" h="23195">
                    <a:moveTo>
                      <a:pt x="64566" y="20855"/>
                    </a:moveTo>
                    <a:cubicBezTo>
                      <a:pt x="54567" y="22570"/>
                      <a:pt x="44568" y="23427"/>
                      <a:pt x="34283" y="23141"/>
                    </a:cubicBezTo>
                    <a:cubicBezTo>
                      <a:pt x="31426" y="23141"/>
                      <a:pt x="25141" y="21141"/>
                      <a:pt x="22855" y="19141"/>
                    </a:cubicBezTo>
                    <a:cubicBezTo>
                      <a:pt x="14856" y="12570"/>
                      <a:pt x="7428" y="6571"/>
                      <a:pt x="0" y="0"/>
                    </a:cubicBezTo>
                    <a:cubicBezTo>
                      <a:pt x="5142" y="2286"/>
                      <a:pt x="10571" y="4857"/>
                      <a:pt x="15713" y="6571"/>
                    </a:cubicBezTo>
                    <a:cubicBezTo>
                      <a:pt x="21141" y="8571"/>
                      <a:pt x="26284" y="10571"/>
                      <a:pt x="31712" y="12285"/>
                    </a:cubicBezTo>
                    <a:cubicBezTo>
                      <a:pt x="42568" y="15713"/>
                      <a:pt x="53424" y="18570"/>
                      <a:pt x="64566" y="20855"/>
                    </a:cubicBezTo>
                    <a:close/>
                  </a:path>
                </a:pathLst>
              </a:custGeom>
              <a:solidFill>
                <a:srgbClr val="61B521"/>
              </a:solidFill>
              <a:ln w="2850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309" name="Freeform: Shape 1308">
                <a:extLst>
                  <a:ext uri="{FF2B5EF4-FFF2-40B4-BE49-F238E27FC236}">
                    <a16:creationId xmlns:a16="http://schemas.microsoft.com/office/drawing/2014/main" id="{6C7F5BC4-94B6-4726-904A-AB87C19F0695}"/>
                  </a:ext>
                </a:extLst>
              </p:cNvPr>
              <p:cNvSpPr/>
              <p:nvPr/>
            </p:nvSpPr>
            <p:spPr>
              <a:xfrm>
                <a:off x="6920002" y="4305210"/>
                <a:ext cx="60852" cy="31425"/>
              </a:xfrm>
              <a:custGeom>
                <a:avLst/>
                <a:gdLst>
                  <a:gd name="connsiteX0" fmla="*/ 60852 w 60852"/>
                  <a:gd name="connsiteY0" fmla="*/ 31426 h 31425"/>
                  <a:gd name="connsiteX1" fmla="*/ 31712 w 60852"/>
                  <a:gd name="connsiteY1" fmla="*/ 25712 h 31425"/>
                  <a:gd name="connsiteX2" fmla="*/ 21427 w 60852"/>
                  <a:gd name="connsiteY2" fmla="*/ 19713 h 31425"/>
                  <a:gd name="connsiteX3" fmla="*/ 0 w 60852"/>
                  <a:gd name="connsiteY3" fmla="*/ 0 h 31425"/>
                  <a:gd name="connsiteX4" fmla="*/ 29998 w 60852"/>
                  <a:gd name="connsiteY4" fmla="*/ 16856 h 31425"/>
                  <a:gd name="connsiteX5" fmla="*/ 60852 w 60852"/>
                  <a:gd name="connsiteY5" fmla="*/ 31426 h 314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60852" h="31425">
                    <a:moveTo>
                      <a:pt x="60852" y="31426"/>
                    </a:moveTo>
                    <a:cubicBezTo>
                      <a:pt x="50853" y="30283"/>
                      <a:pt x="41425" y="27998"/>
                      <a:pt x="31712" y="25712"/>
                    </a:cubicBezTo>
                    <a:cubicBezTo>
                      <a:pt x="28855" y="24855"/>
                      <a:pt x="23427" y="21712"/>
                      <a:pt x="21427" y="19713"/>
                    </a:cubicBezTo>
                    <a:lnTo>
                      <a:pt x="0" y="0"/>
                    </a:lnTo>
                    <a:cubicBezTo>
                      <a:pt x="9714" y="5999"/>
                      <a:pt x="19713" y="11713"/>
                      <a:pt x="29998" y="16856"/>
                    </a:cubicBezTo>
                    <a:cubicBezTo>
                      <a:pt x="39997" y="21998"/>
                      <a:pt x="50282" y="26855"/>
                      <a:pt x="60852" y="31426"/>
                    </a:cubicBezTo>
                    <a:close/>
                  </a:path>
                </a:pathLst>
              </a:custGeom>
              <a:solidFill>
                <a:srgbClr val="61B521"/>
              </a:solidFill>
              <a:ln w="2850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310" name="Freeform: Shape 1309">
                <a:extLst>
                  <a:ext uri="{FF2B5EF4-FFF2-40B4-BE49-F238E27FC236}">
                    <a16:creationId xmlns:a16="http://schemas.microsoft.com/office/drawing/2014/main" id="{BA31BF7F-341B-4EF9-81D7-4CE944EB46F9}"/>
                  </a:ext>
                </a:extLst>
              </p:cNvPr>
              <p:cNvSpPr/>
              <p:nvPr/>
            </p:nvSpPr>
            <p:spPr>
              <a:xfrm>
                <a:off x="6864863" y="4264070"/>
                <a:ext cx="55138" cy="41139"/>
              </a:xfrm>
              <a:custGeom>
                <a:avLst/>
                <a:gdLst>
                  <a:gd name="connsiteX0" fmla="*/ 55138 w 55138"/>
                  <a:gd name="connsiteY0" fmla="*/ 41139 h 41139"/>
                  <a:gd name="connsiteX1" fmla="*/ 28855 w 55138"/>
                  <a:gd name="connsiteY1" fmla="*/ 28855 h 41139"/>
                  <a:gd name="connsiteX2" fmla="*/ 19427 w 55138"/>
                  <a:gd name="connsiteY2" fmla="*/ 21427 h 41139"/>
                  <a:gd name="connsiteX3" fmla="*/ 0 w 55138"/>
                  <a:gd name="connsiteY3" fmla="*/ 0 h 41139"/>
                  <a:gd name="connsiteX4" fmla="*/ 26569 w 55138"/>
                  <a:gd name="connsiteY4" fmla="*/ 21712 h 41139"/>
                  <a:gd name="connsiteX5" fmla="*/ 55138 w 55138"/>
                  <a:gd name="connsiteY5" fmla="*/ 41139 h 411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55138" h="41139">
                    <a:moveTo>
                      <a:pt x="55138" y="41139"/>
                    </a:moveTo>
                    <a:cubicBezTo>
                      <a:pt x="45996" y="37711"/>
                      <a:pt x="37140" y="33712"/>
                      <a:pt x="28855" y="28855"/>
                    </a:cubicBezTo>
                    <a:cubicBezTo>
                      <a:pt x="26284" y="27426"/>
                      <a:pt x="21427" y="23427"/>
                      <a:pt x="19427" y="21427"/>
                    </a:cubicBezTo>
                    <a:cubicBezTo>
                      <a:pt x="12856" y="14285"/>
                      <a:pt x="6285" y="7142"/>
                      <a:pt x="0" y="0"/>
                    </a:cubicBezTo>
                    <a:cubicBezTo>
                      <a:pt x="8285" y="7714"/>
                      <a:pt x="17427" y="15142"/>
                      <a:pt x="26569" y="21712"/>
                    </a:cubicBezTo>
                    <a:cubicBezTo>
                      <a:pt x="35711" y="28569"/>
                      <a:pt x="45139" y="35140"/>
                      <a:pt x="55138" y="41139"/>
                    </a:cubicBezTo>
                    <a:close/>
                  </a:path>
                </a:pathLst>
              </a:custGeom>
              <a:solidFill>
                <a:srgbClr val="61B521"/>
              </a:solidFill>
              <a:ln w="2850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311" name="Freeform: Shape 1310">
                <a:extLst>
                  <a:ext uri="{FF2B5EF4-FFF2-40B4-BE49-F238E27FC236}">
                    <a16:creationId xmlns:a16="http://schemas.microsoft.com/office/drawing/2014/main" id="{EF555EA4-E346-4888-AF0A-86A377FCA3DA}"/>
                  </a:ext>
                </a:extLst>
              </p:cNvPr>
              <p:cNvSpPr/>
              <p:nvPr/>
            </p:nvSpPr>
            <p:spPr>
              <a:xfrm>
                <a:off x="6820867" y="4211217"/>
                <a:ext cx="43996" cy="52852"/>
              </a:xfrm>
              <a:custGeom>
                <a:avLst/>
                <a:gdLst>
                  <a:gd name="connsiteX0" fmla="*/ 43996 w 43996"/>
                  <a:gd name="connsiteY0" fmla="*/ 52853 h 52852"/>
                  <a:gd name="connsiteX1" fmla="*/ 22855 w 43996"/>
                  <a:gd name="connsiteY1" fmla="*/ 33712 h 52852"/>
                  <a:gd name="connsiteX2" fmla="*/ 15427 w 43996"/>
                  <a:gd name="connsiteY2" fmla="*/ 24284 h 52852"/>
                  <a:gd name="connsiteX3" fmla="*/ 0 w 43996"/>
                  <a:gd name="connsiteY3" fmla="*/ 0 h 52852"/>
                  <a:gd name="connsiteX4" fmla="*/ 43996 w 43996"/>
                  <a:gd name="connsiteY4" fmla="*/ 52853 h 528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3996" h="52852">
                    <a:moveTo>
                      <a:pt x="43996" y="52853"/>
                    </a:moveTo>
                    <a:cubicBezTo>
                      <a:pt x="36283" y="47139"/>
                      <a:pt x="29140" y="40568"/>
                      <a:pt x="22855" y="33712"/>
                    </a:cubicBezTo>
                    <a:cubicBezTo>
                      <a:pt x="20855" y="31712"/>
                      <a:pt x="17141" y="26569"/>
                      <a:pt x="15427" y="24284"/>
                    </a:cubicBezTo>
                    <a:cubicBezTo>
                      <a:pt x="10285" y="16284"/>
                      <a:pt x="4857" y="8285"/>
                      <a:pt x="0" y="0"/>
                    </a:cubicBezTo>
                    <a:cubicBezTo>
                      <a:pt x="11999" y="19998"/>
                      <a:pt x="27141" y="37426"/>
                      <a:pt x="43996" y="52853"/>
                    </a:cubicBezTo>
                    <a:close/>
                  </a:path>
                </a:pathLst>
              </a:custGeom>
              <a:solidFill>
                <a:srgbClr val="61B521"/>
              </a:solidFill>
              <a:ln w="2850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sp>
          <p:nvSpPr>
            <p:cNvPr id="320" name="Freeform: Shape 319">
              <a:extLst>
                <a:ext uri="{FF2B5EF4-FFF2-40B4-BE49-F238E27FC236}">
                  <a16:creationId xmlns:a16="http://schemas.microsoft.com/office/drawing/2014/main" id="{45E62A3D-2329-426F-96E4-9927326C22A1}"/>
                </a:ext>
              </a:extLst>
            </p:cNvPr>
            <p:cNvSpPr/>
            <p:nvPr/>
          </p:nvSpPr>
          <p:spPr>
            <a:xfrm>
              <a:off x="6781381" y="3102004"/>
              <a:ext cx="3780722" cy="2790833"/>
            </a:xfrm>
            <a:custGeom>
              <a:avLst/>
              <a:gdLst>
                <a:gd name="connsiteX0" fmla="*/ 61 w 3780722"/>
                <a:gd name="connsiteY0" fmla="*/ 1032363 h 2790833"/>
                <a:gd name="connsiteX1" fmla="*/ 117765 w 3780722"/>
                <a:gd name="connsiteY1" fmla="*/ 554401 h 2790833"/>
                <a:gd name="connsiteX2" fmla="*/ 548588 w 3780722"/>
                <a:gd name="connsiteY2" fmla="*/ 330705 h 2790833"/>
                <a:gd name="connsiteX3" fmla="*/ 795996 w 3780722"/>
                <a:gd name="connsiteY3" fmla="*/ 175289 h 2790833"/>
                <a:gd name="connsiteX4" fmla="*/ 920843 w 3780722"/>
                <a:gd name="connsiteY4" fmla="*/ 306422 h 2790833"/>
                <a:gd name="connsiteX5" fmla="*/ 1015978 w 3780722"/>
                <a:gd name="connsiteY5" fmla="*/ 340705 h 2790833"/>
                <a:gd name="connsiteX6" fmla="*/ 1613930 w 3780722"/>
                <a:gd name="connsiteY6" fmla="*/ 24730 h 2790833"/>
                <a:gd name="connsiteX7" fmla="*/ 2976962 w 3780722"/>
                <a:gd name="connsiteY7" fmla="*/ 342704 h 2790833"/>
                <a:gd name="connsiteX8" fmla="*/ 3608340 w 3780722"/>
                <a:gd name="connsiteY8" fmla="*/ 1244346 h 2790833"/>
                <a:gd name="connsiteX9" fmla="*/ 3775469 w 3780722"/>
                <a:gd name="connsiteY9" fmla="*/ 2199411 h 2790833"/>
                <a:gd name="connsiteX10" fmla="*/ 3019245 w 3780722"/>
                <a:gd name="connsiteY10" fmla="*/ 2784221 h 2790833"/>
                <a:gd name="connsiteX11" fmla="*/ 2596707 w 3780722"/>
                <a:gd name="connsiteY11" fmla="*/ 2215981 h 2790833"/>
                <a:gd name="connsiteX12" fmla="*/ 3177803 w 3780722"/>
                <a:gd name="connsiteY12" fmla="*/ 2048280 h 2790833"/>
                <a:gd name="connsiteX13" fmla="*/ 3272938 w 3780722"/>
                <a:gd name="connsiteY13" fmla="*/ 2461390 h 2790833"/>
                <a:gd name="connsiteX14" fmla="*/ 2880399 w 3780722"/>
                <a:gd name="connsiteY14" fmla="*/ 2534241 h 2790833"/>
                <a:gd name="connsiteX15" fmla="*/ 2846973 w 3780722"/>
                <a:gd name="connsiteY15" fmla="*/ 2235979 h 2790833"/>
                <a:gd name="connsiteX16" fmla="*/ 3131235 w 3780722"/>
                <a:gd name="connsiteY16" fmla="*/ 2285118 h 2790833"/>
                <a:gd name="connsiteX17" fmla="*/ 3052956 w 3780722"/>
                <a:gd name="connsiteY17" fmla="*/ 2453105 h 2790833"/>
                <a:gd name="connsiteX18" fmla="*/ 2942965 w 3780722"/>
                <a:gd name="connsiteY18" fmla="*/ 2385110 h 2790833"/>
                <a:gd name="connsiteX19" fmla="*/ 3002103 w 3780722"/>
                <a:gd name="connsiteY19" fmla="*/ 2388539 h 2790833"/>
                <a:gd name="connsiteX20" fmla="*/ 3056956 w 3780722"/>
                <a:gd name="connsiteY20" fmla="*/ 2338257 h 2790833"/>
                <a:gd name="connsiteX21" fmla="*/ 2962392 w 3780722"/>
                <a:gd name="connsiteY21" fmla="*/ 2282547 h 2790833"/>
                <a:gd name="connsiteX22" fmla="*/ 2874113 w 3780722"/>
                <a:gd name="connsiteY22" fmla="*/ 2411679 h 2790833"/>
                <a:gd name="connsiteX23" fmla="*/ 3051813 w 3780722"/>
                <a:gd name="connsiteY23" fmla="*/ 2489388 h 2790833"/>
                <a:gd name="connsiteX24" fmla="*/ 3184946 w 3780722"/>
                <a:gd name="connsiteY24" fmla="*/ 2307117 h 2790833"/>
                <a:gd name="connsiteX25" fmla="*/ 2976677 w 3780722"/>
                <a:gd name="connsiteY25" fmla="*/ 2125703 h 2790833"/>
                <a:gd name="connsiteX26" fmla="*/ 2753837 w 3780722"/>
                <a:gd name="connsiteY26" fmla="*/ 2289118 h 2790833"/>
                <a:gd name="connsiteX27" fmla="*/ 3117808 w 3780722"/>
                <a:gd name="connsiteY27" fmla="*/ 2592522 h 2790833"/>
                <a:gd name="connsiteX28" fmla="*/ 3495206 w 3780722"/>
                <a:gd name="connsiteY28" fmla="*/ 2255121 h 2790833"/>
                <a:gd name="connsiteX29" fmla="*/ 3325505 w 3780722"/>
                <a:gd name="connsiteY29" fmla="*/ 1538036 h 2790833"/>
                <a:gd name="connsiteX30" fmla="*/ 2605564 w 3780722"/>
                <a:gd name="connsiteY30" fmla="*/ 1139211 h 2790833"/>
                <a:gd name="connsiteX31" fmla="*/ 2453005 w 3780722"/>
                <a:gd name="connsiteY31" fmla="*/ 1137211 h 2790833"/>
                <a:gd name="connsiteX32" fmla="*/ 1647070 w 3780722"/>
                <a:gd name="connsiteY32" fmla="*/ 1041219 h 2790833"/>
                <a:gd name="connsiteX33" fmla="*/ 1064546 w 3780722"/>
                <a:gd name="connsiteY33" fmla="*/ 1179494 h 2790833"/>
                <a:gd name="connsiteX34" fmla="*/ 187760 w 3780722"/>
                <a:gd name="connsiteY34" fmla="*/ 1234632 h 2790833"/>
                <a:gd name="connsiteX35" fmla="*/ 61 w 3780722"/>
                <a:gd name="connsiteY35" fmla="*/ 1032363 h 27908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</a:cxnLst>
              <a:rect l="l" t="t" r="r" b="b"/>
              <a:pathLst>
                <a:path w="3780722" h="2790833">
                  <a:moveTo>
                    <a:pt x="61" y="1032363"/>
                  </a:moveTo>
                  <a:cubicBezTo>
                    <a:pt x="61" y="1032363"/>
                    <a:pt x="32058" y="607826"/>
                    <a:pt x="117765" y="554401"/>
                  </a:cubicBezTo>
                  <a:cubicBezTo>
                    <a:pt x="203473" y="500692"/>
                    <a:pt x="482022" y="373273"/>
                    <a:pt x="548588" y="330705"/>
                  </a:cubicBezTo>
                  <a:cubicBezTo>
                    <a:pt x="615154" y="287852"/>
                    <a:pt x="682005" y="156719"/>
                    <a:pt x="795996" y="175289"/>
                  </a:cubicBezTo>
                  <a:cubicBezTo>
                    <a:pt x="909987" y="193859"/>
                    <a:pt x="890560" y="293280"/>
                    <a:pt x="920843" y="306422"/>
                  </a:cubicBezTo>
                  <a:cubicBezTo>
                    <a:pt x="951126" y="319563"/>
                    <a:pt x="929128" y="369845"/>
                    <a:pt x="1015978" y="340705"/>
                  </a:cubicBezTo>
                  <a:cubicBezTo>
                    <a:pt x="1102828" y="311564"/>
                    <a:pt x="1312240" y="84440"/>
                    <a:pt x="1613930" y="24730"/>
                  </a:cubicBezTo>
                  <a:cubicBezTo>
                    <a:pt x="1915620" y="-34979"/>
                    <a:pt x="2521285" y="-7267"/>
                    <a:pt x="2976962" y="342704"/>
                  </a:cubicBezTo>
                  <a:cubicBezTo>
                    <a:pt x="3432640" y="692676"/>
                    <a:pt x="3608340" y="1244346"/>
                    <a:pt x="3608340" y="1244346"/>
                  </a:cubicBezTo>
                  <a:cubicBezTo>
                    <a:pt x="3608340" y="1244346"/>
                    <a:pt x="3816037" y="1838297"/>
                    <a:pt x="3775469" y="2199411"/>
                  </a:cubicBezTo>
                  <a:cubicBezTo>
                    <a:pt x="3734901" y="2560525"/>
                    <a:pt x="3316935" y="2837645"/>
                    <a:pt x="3019245" y="2784221"/>
                  </a:cubicBezTo>
                  <a:cubicBezTo>
                    <a:pt x="2721554" y="2730796"/>
                    <a:pt x="2470718" y="2438820"/>
                    <a:pt x="2596707" y="2215981"/>
                  </a:cubicBezTo>
                  <a:cubicBezTo>
                    <a:pt x="2722697" y="1993142"/>
                    <a:pt x="3012959" y="1899435"/>
                    <a:pt x="3177803" y="2048280"/>
                  </a:cubicBezTo>
                  <a:cubicBezTo>
                    <a:pt x="3342647" y="2197125"/>
                    <a:pt x="3333505" y="2366255"/>
                    <a:pt x="3272938" y="2461390"/>
                  </a:cubicBezTo>
                  <a:cubicBezTo>
                    <a:pt x="3212372" y="2556239"/>
                    <a:pt x="3028387" y="2642804"/>
                    <a:pt x="2880399" y="2534241"/>
                  </a:cubicBezTo>
                  <a:cubicBezTo>
                    <a:pt x="2732411" y="2425393"/>
                    <a:pt x="2748695" y="2300260"/>
                    <a:pt x="2846973" y="2235979"/>
                  </a:cubicBezTo>
                  <a:cubicBezTo>
                    <a:pt x="2945250" y="2171985"/>
                    <a:pt x="3088096" y="2180841"/>
                    <a:pt x="3131235" y="2285118"/>
                  </a:cubicBezTo>
                  <a:cubicBezTo>
                    <a:pt x="3174375" y="2389396"/>
                    <a:pt x="3120094" y="2451105"/>
                    <a:pt x="3052956" y="2453105"/>
                  </a:cubicBezTo>
                  <a:cubicBezTo>
                    <a:pt x="2985819" y="2454819"/>
                    <a:pt x="2932966" y="2411679"/>
                    <a:pt x="2942965" y="2385110"/>
                  </a:cubicBezTo>
                  <a:cubicBezTo>
                    <a:pt x="2952964" y="2358255"/>
                    <a:pt x="2975820" y="2386824"/>
                    <a:pt x="3002103" y="2388539"/>
                  </a:cubicBezTo>
                  <a:cubicBezTo>
                    <a:pt x="3028387" y="2390538"/>
                    <a:pt x="3072097" y="2379968"/>
                    <a:pt x="3056956" y="2338257"/>
                  </a:cubicBezTo>
                  <a:cubicBezTo>
                    <a:pt x="3041814" y="2296546"/>
                    <a:pt x="3001532" y="2280547"/>
                    <a:pt x="2962392" y="2282547"/>
                  </a:cubicBezTo>
                  <a:cubicBezTo>
                    <a:pt x="2923252" y="2284547"/>
                    <a:pt x="2834117" y="2338257"/>
                    <a:pt x="2874113" y="2411679"/>
                  </a:cubicBezTo>
                  <a:cubicBezTo>
                    <a:pt x="2913824" y="2485102"/>
                    <a:pt x="2992104" y="2510529"/>
                    <a:pt x="3051813" y="2489388"/>
                  </a:cubicBezTo>
                  <a:cubicBezTo>
                    <a:pt x="3111237" y="2468246"/>
                    <a:pt x="3196944" y="2444248"/>
                    <a:pt x="3184946" y="2307117"/>
                  </a:cubicBezTo>
                  <a:cubicBezTo>
                    <a:pt x="3172946" y="2169985"/>
                    <a:pt x="3047814" y="2123703"/>
                    <a:pt x="2976677" y="2125703"/>
                  </a:cubicBezTo>
                  <a:cubicBezTo>
                    <a:pt x="2906397" y="2127702"/>
                    <a:pt x="2791549" y="2134845"/>
                    <a:pt x="2753837" y="2289118"/>
                  </a:cubicBezTo>
                  <a:cubicBezTo>
                    <a:pt x="2715841" y="2443391"/>
                    <a:pt x="2903254" y="2624805"/>
                    <a:pt x="3117808" y="2592522"/>
                  </a:cubicBezTo>
                  <a:cubicBezTo>
                    <a:pt x="3332362" y="2560239"/>
                    <a:pt x="3471779" y="2436535"/>
                    <a:pt x="3495206" y="2255121"/>
                  </a:cubicBezTo>
                  <a:cubicBezTo>
                    <a:pt x="3518633" y="2073707"/>
                    <a:pt x="3481207" y="1700309"/>
                    <a:pt x="3325505" y="1538036"/>
                  </a:cubicBezTo>
                  <a:cubicBezTo>
                    <a:pt x="3325505" y="1538036"/>
                    <a:pt x="2760123" y="1372335"/>
                    <a:pt x="2605564" y="1139211"/>
                  </a:cubicBezTo>
                  <a:cubicBezTo>
                    <a:pt x="2605564" y="1139211"/>
                    <a:pt x="2616706" y="1069788"/>
                    <a:pt x="2453005" y="1137211"/>
                  </a:cubicBezTo>
                  <a:cubicBezTo>
                    <a:pt x="2289304" y="1204634"/>
                    <a:pt x="1647070" y="1041219"/>
                    <a:pt x="1647070" y="1041219"/>
                  </a:cubicBezTo>
                  <a:cubicBezTo>
                    <a:pt x="1647070" y="1041219"/>
                    <a:pt x="1289099" y="1153210"/>
                    <a:pt x="1064546" y="1179494"/>
                  </a:cubicBezTo>
                  <a:cubicBezTo>
                    <a:pt x="839992" y="1205777"/>
                    <a:pt x="384029" y="1322911"/>
                    <a:pt x="187760" y="1234632"/>
                  </a:cubicBezTo>
                  <a:cubicBezTo>
                    <a:pt x="-8796" y="1146068"/>
                    <a:pt x="61" y="1032363"/>
                    <a:pt x="61" y="1032363"/>
                  </a:cubicBezTo>
                  <a:close/>
                </a:path>
              </a:pathLst>
            </a:custGeom>
            <a:solidFill>
              <a:srgbClr val="61B521"/>
            </a:solidFill>
            <a:ln w="2850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21" name="Freeform: Shape 320">
              <a:extLst>
                <a:ext uri="{FF2B5EF4-FFF2-40B4-BE49-F238E27FC236}">
                  <a16:creationId xmlns:a16="http://schemas.microsoft.com/office/drawing/2014/main" id="{43D13390-20A5-425A-A03C-904F58F0C65B}"/>
                </a:ext>
              </a:extLst>
            </p:cNvPr>
            <p:cNvSpPr/>
            <p:nvPr/>
          </p:nvSpPr>
          <p:spPr>
            <a:xfrm>
              <a:off x="6781442" y="3922383"/>
              <a:ext cx="946044" cy="316831"/>
            </a:xfrm>
            <a:custGeom>
              <a:avLst/>
              <a:gdLst>
                <a:gd name="connsiteX0" fmla="*/ 935067 w 946044"/>
                <a:gd name="connsiteY0" fmla="*/ 191413 h 316831"/>
                <a:gd name="connsiteX1" fmla="*/ 907926 w 946044"/>
                <a:gd name="connsiteY1" fmla="*/ 0 h 316831"/>
                <a:gd name="connsiteX2" fmla="*/ 826219 w 946044"/>
                <a:gd name="connsiteY2" fmla="*/ 75137 h 316831"/>
                <a:gd name="connsiteX3" fmla="*/ 646519 w 946044"/>
                <a:gd name="connsiteY3" fmla="*/ 58281 h 316831"/>
                <a:gd name="connsiteX4" fmla="*/ 0 w 946044"/>
                <a:gd name="connsiteY4" fmla="*/ 216840 h 316831"/>
                <a:gd name="connsiteX5" fmla="*/ 46853 w 946044"/>
                <a:gd name="connsiteY5" fmla="*/ 316831 h 316831"/>
                <a:gd name="connsiteX6" fmla="*/ 935067 w 946044"/>
                <a:gd name="connsiteY6" fmla="*/ 191413 h 316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946044" h="316831">
                  <a:moveTo>
                    <a:pt x="935067" y="191413"/>
                  </a:moveTo>
                  <a:cubicBezTo>
                    <a:pt x="970778" y="72280"/>
                    <a:pt x="907926" y="0"/>
                    <a:pt x="907926" y="0"/>
                  </a:cubicBezTo>
                  <a:lnTo>
                    <a:pt x="826219" y="75137"/>
                  </a:lnTo>
                  <a:lnTo>
                    <a:pt x="646519" y="58281"/>
                  </a:lnTo>
                  <a:lnTo>
                    <a:pt x="0" y="216840"/>
                  </a:lnTo>
                  <a:cubicBezTo>
                    <a:pt x="571" y="230267"/>
                    <a:pt x="6000" y="270549"/>
                    <a:pt x="46853" y="316831"/>
                  </a:cubicBezTo>
                  <a:cubicBezTo>
                    <a:pt x="222268" y="313975"/>
                    <a:pt x="904212" y="295405"/>
                    <a:pt x="935067" y="191413"/>
                  </a:cubicBezTo>
                  <a:close/>
                </a:path>
              </a:pathLst>
            </a:custGeom>
            <a:solidFill>
              <a:srgbClr val="308218"/>
            </a:solidFill>
            <a:ln w="2850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22" name="Freeform: Shape 321">
              <a:extLst>
                <a:ext uri="{FF2B5EF4-FFF2-40B4-BE49-F238E27FC236}">
                  <a16:creationId xmlns:a16="http://schemas.microsoft.com/office/drawing/2014/main" id="{A9918EC0-BC87-47E7-AFE9-40E10A0B9BDD}"/>
                </a:ext>
              </a:extLst>
            </p:cNvPr>
            <p:cNvSpPr/>
            <p:nvPr/>
          </p:nvSpPr>
          <p:spPr>
            <a:xfrm>
              <a:off x="7372251" y="3992092"/>
              <a:ext cx="235409" cy="85135"/>
            </a:xfrm>
            <a:custGeom>
              <a:avLst/>
              <a:gdLst>
                <a:gd name="connsiteX0" fmla="*/ 235409 w 235409"/>
                <a:gd name="connsiteY0" fmla="*/ 12285 h 85135"/>
                <a:gd name="connsiteX1" fmla="*/ 0 w 235409"/>
                <a:gd name="connsiteY1" fmla="*/ 85136 h 85135"/>
                <a:gd name="connsiteX2" fmla="*/ 126561 w 235409"/>
                <a:gd name="connsiteY2" fmla="*/ 0 h 85135"/>
                <a:gd name="connsiteX3" fmla="*/ 235409 w 235409"/>
                <a:gd name="connsiteY3" fmla="*/ 12285 h 85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5409" h="85135">
                  <a:moveTo>
                    <a:pt x="235409" y="12285"/>
                  </a:moveTo>
                  <a:lnTo>
                    <a:pt x="0" y="85136"/>
                  </a:lnTo>
                  <a:cubicBezTo>
                    <a:pt x="0" y="85136"/>
                    <a:pt x="123990" y="9999"/>
                    <a:pt x="126561" y="0"/>
                  </a:cubicBezTo>
                  <a:lnTo>
                    <a:pt x="235409" y="12285"/>
                  </a:lnTo>
                  <a:close/>
                </a:path>
              </a:pathLst>
            </a:custGeom>
            <a:solidFill>
              <a:srgbClr val="2A3E33">
                <a:alpha val="62000"/>
              </a:srgbClr>
            </a:solidFill>
            <a:ln w="2850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23" name="Freeform: Shape 322">
              <a:extLst>
                <a:ext uri="{FF2B5EF4-FFF2-40B4-BE49-F238E27FC236}">
                  <a16:creationId xmlns:a16="http://schemas.microsoft.com/office/drawing/2014/main" id="{1870685E-E85E-4A74-80F3-079C62C551D6}"/>
                </a:ext>
              </a:extLst>
            </p:cNvPr>
            <p:cNvSpPr/>
            <p:nvPr/>
          </p:nvSpPr>
          <p:spPr>
            <a:xfrm>
              <a:off x="9987660" y="4016642"/>
              <a:ext cx="222257" cy="579221"/>
            </a:xfrm>
            <a:custGeom>
              <a:avLst/>
              <a:gdLst>
                <a:gd name="connsiteX0" fmla="*/ 950 w 222257"/>
                <a:gd name="connsiteY0" fmla="*/ 20 h 579221"/>
                <a:gd name="connsiteX1" fmla="*/ 61231 w 222257"/>
                <a:gd name="connsiteY1" fmla="*/ 100297 h 579221"/>
                <a:gd name="connsiteX2" fmla="*/ 150081 w 222257"/>
                <a:gd name="connsiteY2" fmla="*/ 171720 h 579221"/>
                <a:gd name="connsiteX3" fmla="*/ 221789 w 222257"/>
                <a:gd name="connsiteY3" fmla="*/ 421128 h 579221"/>
                <a:gd name="connsiteX4" fmla="*/ 186363 w 222257"/>
                <a:gd name="connsiteY4" fmla="*/ 579116 h 579221"/>
                <a:gd name="connsiteX5" fmla="*/ 950 w 222257"/>
                <a:gd name="connsiteY5" fmla="*/ 20 h 5792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22257" h="579221">
                  <a:moveTo>
                    <a:pt x="950" y="20"/>
                  </a:moveTo>
                  <a:cubicBezTo>
                    <a:pt x="4664" y="-1123"/>
                    <a:pt x="14949" y="47444"/>
                    <a:pt x="61231" y="100297"/>
                  </a:cubicBezTo>
                  <a:cubicBezTo>
                    <a:pt x="98656" y="142865"/>
                    <a:pt x="119226" y="142294"/>
                    <a:pt x="150081" y="171720"/>
                  </a:cubicBezTo>
                  <a:cubicBezTo>
                    <a:pt x="226074" y="244286"/>
                    <a:pt x="223218" y="364562"/>
                    <a:pt x="221789" y="421128"/>
                  </a:cubicBezTo>
                  <a:cubicBezTo>
                    <a:pt x="221503" y="436556"/>
                    <a:pt x="218075" y="574545"/>
                    <a:pt x="186363" y="579116"/>
                  </a:cubicBezTo>
                  <a:cubicBezTo>
                    <a:pt x="119797" y="588258"/>
                    <a:pt x="-12478" y="4019"/>
                    <a:pt x="950" y="20"/>
                  </a:cubicBezTo>
                  <a:close/>
                </a:path>
              </a:pathLst>
            </a:custGeom>
            <a:solidFill>
              <a:srgbClr val="286B14"/>
            </a:solidFill>
            <a:ln w="2850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24" name="Freeform: Shape 323">
              <a:extLst>
                <a:ext uri="{FF2B5EF4-FFF2-40B4-BE49-F238E27FC236}">
                  <a16:creationId xmlns:a16="http://schemas.microsoft.com/office/drawing/2014/main" id="{BFDB78A9-EC11-41FD-9C07-731BB7056CE4}"/>
                </a:ext>
              </a:extLst>
            </p:cNvPr>
            <p:cNvSpPr/>
            <p:nvPr/>
          </p:nvSpPr>
          <p:spPr>
            <a:xfrm>
              <a:off x="6781442" y="3274932"/>
              <a:ext cx="847256" cy="867718"/>
            </a:xfrm>
            <a:custGeom>
              <a:avLst/>
              <a:gdLst>
                <a:gd name="connsiteX0" fmla="*/ 175986 w 847256"/>
                <a:gd name="connsiteY0" fmla="*/ 399757 h 867718"/>
                <a:gd name="connsiteX1" fmla="*/ 456534 w 847256"/>
                <a:gd name="connsiteY1" fmla="*/ 247483 h 867718"/>
                <a:gd name="connsiteX2" fmla="*/ 671946 w 847256"/>
                <a:gd name="connsiteY2" fmla="*/ 229771 h 867718"/>
                <a:gd name="connsiteX3" fmla="*/ 796507 w 847256"/>
                <a:gd name="connsiteY3" fmla="*/ 229771 h 867718"/>
                <a:gd name="connsiteX4" fmla="*/ 844789 w 847256"/>
                <a:gd name="connsiteY4" fmla="*/ 18359 h 867718"/>
                <a:gd name="connsiteX5" fmla="*/ 796221 w 847256"/>
                <a:gd name="connsiteY5" fmla="*/ 1789 h 867718"/>
                <a:gd name="connsiteX6" fmla="*/ 548813 w 847256"/>
                <a:gd name="connsiteY6" fmla="*/ 157205 h 867718"/>
                <a:gd name="connsiteX7" fmla="*/ 117990 w 847256"/>
                <a:gd name="connsiteY7" fmla="*/ 380901 h 867718"/>
                <a:gd name="connsiteX8" fmla="*/ 0 w 847256"/>
                <a:gd name="connsiteY8" fmla="*/ 859434 h 867718"/>
                <a:gd name="connsiteX9" fmla="*/ 286 w 847256"/>
                <a:gd name="connsiteY9" fmla="*/ 867719 h 867718"/>
                <a:gd name="connsiteX10" fmla="*/ 108563 w 847256"/>
                <a:gd name="connsiteY10" fmla="*/ 836579 h 867718"/>
                <a:gd name="connsiteX11" fmla="*/ 214268 w 847256"/>
                <a:gd name="connsiteY11" fmla="*/ 736301 h 867718"/>
                <a:gd name="connsiteX12" fmla="*/ 143417 w 847256"/>
                <a:gd name="connsiteY12" fmla="*/ 674306 h 867718"/>
                <a:gd name="connsiteX13" fmla="*/ 74280 w 847256"/>
                <a:gd name="connsiteY13" fmla="*/ 733158 h 867718"/>
                <a:gd name="connsiteX14" fmla="*/ 72566 w 847256"/>
                <a:gd name="connsiteY14" fmla="*/ 693447 h 867718"/>
                <a:gd name="connsiteX15" fmla="*/ 175986 w 847256"/>
                <a:gd name="connsiteY15" fmla="*/ 399757 h 8677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847256" h="867718">
                  <a:moveTo>
                    <a:pt x="175986" y="399757"/>
                  </a:moveTo>
                  <a:cubicBezTo>
                    <a:pt x="273978" y="285480"/>
                    <a:pt x="407396" y="257768"/>
                    <a:pt x="456534" y="247483"/>
                  </a:cubicBezTo>
                  <a:cubicBezTo>
                    <a:pt x="559669" y="226057"/>
                    <a:pt x="671946" y="229771"/>
                    <a:pt x="671946" y="229771"/>
                  </a:cubicBezTo>
                  <a:cubicBezTo>
                    <a:pt x="751082" y="232342"/>
                    <a:pt x="771652" y="243198"/>
                    <a:pt x="796507" y="229771"/>
                  </a:cubicBezTo>
                  <a:cubicBezTo>
                    <a:pt x="829076" y="212343"/>
                    <a:pt x="855645" y="160062"/>
                    <a:pt x="844789" y="18359"/>
                  </a:cubicBezTo>
                  <a:cubicBezTo>
                    <a:pt x="831933" y="10931"/>
                    <a:pt x="816220" y="5217"/>
                    <a:pt x="796221" y="1789"/>
                  </a:cubicBezTo>
                  <a:cubicBezTo>
                    <a:pt x="682230" y="-16781"/>
                    <a:pt x="615379" y="114351"/>
                    <a:pt x="548813" y="157205"/>
                  </a:cubicBezTo>
                  <a:cubicBezTo>
                    <a:pt x="482247" y="200059"/>
                    <a:pt x="203698" y="327477"/>
                    <a:pt x="117990" y="380901"/>
                  </a:cubicBezTo>
                  <a:cubicBezTo>
                    <a:pt x="32283" y="434897"/>
                    <a:pt x="0" y="859434"/>
                    <a:pt x="0" y="859434"/>
                  </a:cubicBezTo>
                  <a:cubicBezTo>
                    <a:pt x="0" y="859434"/>
                    <a:pt x="286" y="866576"/>
                    <a:pt x="286" y="867719"/>
                  </a:cubicBezTo>
                  <a:lnTo>
                    <a:pt x="108563" y="836579"/>
                  </a:lnTo>
                  <a:cubicBezTo>
                    <a:pt x="108563" y="836579"/>
                    <a:pt x="206269" y="760299"/>
                    <a:pt x="214268" y="736301"/>
                  </a:cubicBezTo>
                  <a:cubicBezTo>
                    <a:pt x="222268" y="712303"/>
                    <a:pt x="183985" y="678020"/>
                    <a:pt x="143417" y="674306"/>
                  </a:cubicBezTo>
                  <a:cubicBezTo>
                    <a:pt x="107420" y="670878"/>
                    <a:pt x="74280" y="733158"/>
                    <a:pt x="74280" y="733158"/>
                  </a:cubicBezTo>
                  <a:lnTo>
                    <a:pt x="72566" y="693447"/>
                  </a:lnTo>
                  <a:cubicBezTo>
                    <a:pt x="72566" y="646308"/>
                    <a:pt x="79136" y="512890"/>
                    <a:pt x="175986" y="399757"/>
                  </a:cubicBezTo>
                  <a:close/>
                </a:path>
              </a:pathLst>
            </a:custGeom>
            <a:solidFill>
              <a:srgbClr val="73D927"/>
            </a:solidFill>
            <a:ln w="2850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25" name="Freeform: Shape 324">
              <a:extLst>
                <a:ext uri="{FF2B5EF4-FFF2-40B4-BE49-F238E27FC236}">
                  <a16:creationId xmlns:a16="http://schemas.microsoft.com/office/drawing/2014/main" id="{575A2BAB-9B75-4376-93E3-3968DA3CF879}"/>
                </a:ext>
              </a:extLst>
            </p:cNvPr>
            <p:cNvSpPr/>
            <p:nvPr/>
          </p:nvSpPr>
          <p:spPr>
            <a:xfrm>
              <a:off x="7036063" y="3575169"/>
              <a:ext cx="363206" cy="313240"/>
            </a:xfrm>
            <a:custGeom>
              <a:avLst/>
              <a:gdLst>
                <a:gd name="connsiteX0" fmla="*/ 215 w 363206"/>
                <a:gd name="connsiteY0" fmla="*/ 148944 h 313240"/>
                <a:gd name="connsiteX1" fmla="*/ 17356 w 363206"/>
                <a:gd name="connsiteY1" fmla="*/ 77522 h 313240"/>
                <a:gd name="connsiteX2" fmla="*/ 37640 w 363206"/>
                <a:gd name="connsiteY2" fmla="*/ 46096 h 313240"/>
                <a:gd name="connsiteX3" fmla="*/ 65638 w 363206"/>
                <a:gd name="connsiteY3" fmla="*/ 21241 h 313240"/>
                <a:gd name="connsiteX4" fmla="*/ 136490 w 363206"/>
                <a:gd name="connsiteY4" fmla="*/ 99 h 313240"/>
                <a:gd name="connsiteX5" fmla="*/ 211055 w 363206"/>
                <a:gd name="connsiteY5" fmla="*/ 8099 h 313240"/>
                <a:gd name="connsiteX6" fmla="*/ 335045 w 363206"/>
                <a:gd name="connsiteY6" fmla="*/ 70665 h 313240"/>
                <a:gd name="connsiteX7" fmla="*/ 363043 w 363206"/>
                <a:gd name="connsiteY7" fmla="*/ 126946 h 313240"/>
                <a:gd name="connsiteX8" fmla="*/ 202199 w 363206"/>
                <a:gd name="connsiteY8" fmla="*/ 310646 h 313240"/>
                <a:gd name="connsiteX9" fmla="*/ 24784 w 363206"/>
                <a:gd name="connsiteY9" fmla="*/ 259507 h 313240"/>
                <a:gd name="connsiteX10" fmla="*/ 215 w 363206"/>
                <a:gd name="connsiteY10" fmla="*/ 148944 h 3132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63206" h="313240">
                  <a:moveTo>
                    <a:pt x="215" y="148944"/>
                  </a:moveTo>
                  <a:cubicBezTo>
                    <a:pt x="1358" y="124661"/>
                    <a:pt x="6786" y="100091"/>
                    <a:pt x="17356" y="77522"/>
                  </a:cubicBezTo>
                  <a:cubicBezTo>
                    <a:pt x="22499" y="66094"/>
                    <a:pt x="29641" y="55809"/>
                    <a:pt x="37640" y="46096"/>
                  </a:cubicBezTo>
                  <a:cubicBezTo>
                    <a:pt x="45926" y="36668"/>
                    <a:pt x="55353" y="28383"/>
                    <a:pt x="65638" y="21241"/>
                  </a:cubicBezTo>
                  <a:cubicBezTo>
                    <a:pt x="86779" y="7527"/>
                    <a:pt x="111634" y="385"/>
                    <a:pt x="136490" y="99"/>
                  </a:cubicBezTo>
                  <a:cubicBezTo>
                    <a:pt x="161345" y="-758"/>
                    <a:pt x="186486" y="4099"/>
                    <a:pt x="211055" y="8099"/>
                  </a:cubicBezTo>
                  <a:cubicBezTo>
                    <a:pt x="259622" y="16955"/>
                    <a:pt x="306476" y="34097"/>
                    <a:pt x="335045" y="70665"/>
                  </a:cubicBezTo>
                  <a:cubicBezTo>
                    <a:pt x="348472" y="86949"/>
                    <a:pt x="357615" y="106376"/>
                    <a:pt x="363043" y="126946"/>
                  </a:cubicBezTo>
                  <a:cubicBezTo>
                    <a:pt x="367328" y="207797"/>
                    <a:pt x="286763" y="293504"/>
                    <a:pt x="202199" y="310646"/>
                  </a:cubicBezTo>
                  <a:cubicBezTo>
                    <a:pt x="131061" y="324930"/>
                    <a:pt x="68781" y="276363"/>
                    <a:pt x="24784" y="259507"/>
                  </a:cubicBezTo>
                  <a:cubicBezTo>
                    <a:pt x="7072" y="225795"/>
                    <a:pt x="-1499" y="187798"/>
                    <a:pt x="215" y="148944"/>
                  </a:cubicBezTo>
                  <a:close/>
                </a:path>
              </a:pathLst>
            </a:custGeom>
            <a:solidFill>
              <a:srgbClr val="73D927"/>
            </a:solidFill>
            <a:ln w="2850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26" name="Freeform: Shape 325">
              <a:extLst>
                <a:ext uri="{FF2B5EF4-FFF2-40B4-BE49-F238E27FC236}">
                  <a16:creationId xmlns:a16="http://schemas.microsoft.com/office/drawing/2014/main" id="{A55AA15E-A9A0-4007-B5BE-05E2059C8D6E}"/>
                </a:ext>
              </a:extLst>
            </p:cNvPr>
            <p:cNvSpPr/>
            <p:nvPr/>
          </p:nvSpPr>
          <p:spPr>
            <a:xfrm>
              <a:off x="7015782" y="3562984"/>
              <a:ext cx="330470" cy="385538"/>
            </a:xfrm>
            <a:custGeom>
              <a:avLst/>
              <a:gdLst>
                <a:gd name="connsiteX0" fmla="*/ 256763 w 330470"/>
                <a:gd name="connsiteY0" fmla="*/ 340544 h 385538"/>
                <a:gd name="connsiteX1" fmla="*/ 149057 w 330470"/>
                <a:gd name="connsiteY1" fmla="*/ 287405 h 385538"/>
                <a:gd name="connsiteX2" fmla="*/ 110774 w 330470"/>
                <a:gd name="connsiteY2" fmla="*/ 136560 h 385538"/>
                <a:gd name="connsiteX3" fmla="*/ 205053 w 330470"/>
                <a:gd name="connsiteY3" fmla="*/ 0 h 385538"/>
                <a:gd name="connsiteX4" fmla="*/ 84205 w 330470"/>
                <a:gd name="connsiteY4" fmla="*/ 31140 h 385538"/>
                <a:gd name="connsiteX5" fmla="*/ 3355 w 330470"/>
                <a:gd name="connsiteY5" fmla="*/ 159130 h 385538"/>
                <a:gd name="connsiteX6" fmla="*/ 41637 w 330470"/>
                <a:gd name="connsiteY6" fmla="*/ 309975 h 385538"/>
                <a:gd name="connsiteX7" fmla="*/ 177055 w 330470"/>
                <a:gd name="connsiteY7" fmla="*/ 383683 h 385538"/>
                <a:gd name="connsiteX8" fmla="*/ 325900 w 330470"/>
                <a:gd name="connsiteY8" fmla="*/ 349115 h 385538"/>
                <a:gd name="connsiteX9" fmla="*/ 330471 w 330470"/>
                <a:gd name="connsiteY9" fmla="*/ 345972 h 385538"/>
                <a:gd name="connsiteX10" fmla="*/ 256763 w 330470"/>
                <a:gd name="connsiteY10" fmla="*/ 340544 h 3855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30470" h="385538">
                  <a:moveTo>
                    <a:pt x="256763" y="340544"/>
                  </a:moveTo>
                  <a:cubicBezTo>
                    <a:pt x="205338" y="334544"/>
                    <a:pt x="183054" y="329116"/>
                    <a:pt x="149057" y="287405"/>
                  </a:cubicBezTo>
                  <a:cubicBezTo>
                    <a:pt x="115060" y="246266"/>
                    <a:pt x="100204" y="188556"/>
                    <a:pt x="110774" y="136560"/>
                  </a:cubicBezTo>
                  <a:cubicBezTo>
                    <a:pt x="119631" y="88850"/>
                    <a:pt x="168198" y="28855"/>
                    <a:pt x="205053" y="0"/>
                  </a:cubicBezTo>
                  <a:cubicBezTo>
                    <a:pt x="187625" y="4571"/>
                    <a:pt x="99061" y="21141"/>
                    <a:pt x="84205" y="31140"/>
                  </a:cubicBezTo>
                  <a:cubicBezTo>
                    <a:pt x="41637" y="59709"/>
                    <a:pt x="12782" y="107420"/>
                    <a:pt x="3355" y="159130"/>
                  </a:cubicBezTo>
                  <a:cubicBezTo>
                    <a:pt x="-7216" y="211126"/>
                    <a:pt x="7640" y="268835"/>
                    <a:pt x="41637" y="309975"/>
                  </a:cubicBezTo>
                  <a:cubicBezTo>
                    <a:pt x="75349" y="351686"/>
                    <a:pt x="125916" y="377684"/>
                    <a:pt x="177055" y="383683"/>
                  </a:cubicBezTo>
                  <a:cubicBezTo>
                    <a:pt x="228479" y="390540"/>
                    <a:pt x="281903" y="378255"/>
                    <a:pt x="325900" y="349115"/>
                  </a:cubicBezTo>
                  <a:cubicBezTo>
                    <a:pt x="327328" y="347972"/>
                    <a:pt x="328757" y="346829"/>
                    <a:pt x="330471" y="345972"/>
                  </a:cubicBezTo>
                  <a:cubicBezTo>
                    <a:pt x="300188" y="355685"/>
                    <a:pt x="288189" y="344543"/>
                    <a:pt x="256763" y="340544"/>
                  </a:cubicBezTo>
                  <a:close/>
                </a:path>
              </a:pathLst>
            </a:custGeom>
            <a:solidFill>
              <a:srgbClr val="61B521"/>
            </a:solidFill>
            <a:ln w="2850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35" name="Freeform: Shape 334">
              <a:extLst>
                <a:ext uri="{FF2B5EF4-FFF2-40B4-BE49-F238E27FC236}">
                  <a16:creationId xmlns:a16="http://schemas.microsoft.com/office/drawing/2014/main" id="{A4ACE696-2BED-471A-90CD-66E40EA53AFB}"/>
                </a:ext>
              </a:extLst>
            </p:cNvPr>
            <p:cNvSpPr/>
            <p:nvPr/>
          </p:nvSpPr>
          <p:spPr>
            <a:xfrm>
              <a:off x="7190184" y="3686632"/>
              <a:ext cx="114357" cy="84380"/>
            </a:xfrm>
            <a:custGeom>
              <a:avLst/>
              <a:gdLst>
                <a:gd name="connsiteX0" fmla="*/ 36935 w 114357"/>
                <a:gd name="connsiteY0" fmla="*/ 1199 h 84380"/>
                <a:gd name="connsiteX1" fmla="*/ 10652 w 114357"/>
                <a:gd name="connsiteY1" fmla="*/ 73764 h 84380"/>
                <a:gd name="connsiteX2" fmla="*/ 33793 w 114357"/>
                <a:gd name="connsiteY2" fmla="*/ 84335 h 84380"/>
                <a:gd name="connsiteX3" fmla="*/ 90645 w 114357"/>
                <a:gd name="connsiteY3" fmla="*/ 27196 h 84380"/>
                <a:gd name="connsiteX4" fmla="*/ 114357 w 114357"/>
                <a:gd name="connsiteY4" fmla="*/ 12055 h 84380"/>
                <a:gd name="connsiteX5" fmla="*/ 36935 w 114357"/>
                <a:gd name="connsiteY5" fmla="*/ 1199 h 843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4357" h="84380">
                  <a:moveTo>
                    <a:pt x="36935" y="1199"/>
                  </a:moveTo>
                  <a:cubicBezTo>
                    <a:pt x="3509" y="6627"/>
                    <a:pt x="-11918" y="48338"/>
                    <a:pt x="10652" y="73764"/>
                  </a:cubicBezTo>
                  <a:cubicBezTo>
                    <a:pt x="16365" y="80049"/>
                    <a:pt x="23793" y="84906"/>
                    <a:pt x="33793" y="84335"/>
                  </a:cubicBezTo>
                  <a:cubicBezTo>
                    <a:pt x="63219" y="82906"/>
                    <a:pt x="83503" y="76907"/>
                    <a:pt x="90645" y="27196"/>
                  </a:cubicBezTo>
                  <a:cubicBezTo>
                    <a:pt x="90645" y="27196"/>
                    <a:pt x="102358" y="14340"/>
                    <a:pt x="114357" y="12055"/>
                  </a:cubicBezTo>
                  <a:cubicBezTo>
                    <a:pt x="114357" y="12055"/>
                    <a:pt x="71504" y="-4515"/>
                    <a:pt x="36935" y="1199"/>
                  </a:cubicBezTo>
                  <a:close/>
                </a:path>
              </a:pathLst>
            </a:custGeom>
            <a:solidFill>
              <a:srgbClr val="2A3E33">
                <a:alpha val="62000"/>
              </a:srgbClr>
            </a:solidFill>
            <a:ln w="2850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36" name="Freeform: Shape 335">
              <a:extLst>
                <a:ext uri="{FF2B5EF4-FFF2-40B4-BE49-F238E27FC236}">
                  <a16:creationId xmlns:a16="http://schemas.microsoft.com/office/drawing/2014/main" id="{7DCDF571-63C2-4639-9B18-05D38D5D2CE7}"/>
                </a:ext>
              </a:extLst>
            </p:cNvPr>
            <p:cNvSpPr/>
            <p:nvPr/>
          </p:nvSpPr>
          <p:spPr>
            <a:xfrm>
              <a:off x="6859984" y="4004213"/>
              <a:ext cx="79758" cy="55948"/>
            </a:xfrm>
            <a:custGeom>
              <a:avLst/>
              <a:gdLst>
                <a:gd name="connsiteX0" fmla="*/ 880 w 79758"/>
                <a:gd name="connsiteY0" fmla="*/ 47588 h 55948"/>
                <a:gd name="connsiteX1" fmla="*/ 79159 w 79758"/>
                <a:gd name="connsiteY1" fmla="*/ 4163 h 55948"/>
                <a:gd name="connsiteX2" fmla="*/ 880 w 79758"/>
                <a:gd name="connsiteY2" fmla="*/ 47588 h 559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79758" h="55948">
                  <a:moveTo>
                    <a:pt x="880" y="47588"/>
                  </a:moveTo>
                  <a:cubicBezTo>
                    <a:pt x="880" y="47588"/>
                    <a:pt x="69731" y="-16692"/>
                    <a:pt x="79159" y="4163"/>
                  </a:cubicBezTo>
                  <a:cubicBezTo>
                    <a:pt x="88301" y="25019"/>
                    <a:pt x="-10262" y="75872"/>
                    <a:pt x="880" y="47588"/>
                  </a:cubicBezTo>
                  <a:close/>
                </a:path>
              </a:pathLst>
            </a:custGeom>
            <a:solidFill>
              <a:srgbClr val="1D2345"/>
            </a:solidFill>
            <a:ln w="2850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grpSp>
          <p:nvGrpSpPr>
            <p:cNvPr id="337" name="Graphic 1287">
              <a:extLst>
                <a:ext uri="{FF2B5EF4-FFF2-40B4-BE49-F238E27FC236}">
                  <a16:creationId xmlns:a16="http://schemas.microsoft.com/office/drawing/2014/main" id="{3AF0CC9A-49BC-41AD-A10C-81F1C9646867}"/>
                </a:ext>
              </a:extLst>
            </p:cNvPr>
            <p:cNvGrpSpPr/>
            <p:nvPr/>
          </p:nvGrpSpPr>
          <p:grpSpPr>
            <a:xfrm>
              <a:off x="6781727" y="3915527"/>
              <a:ext cx="907640" cy="227124"/>
              <a:chOff x="6781727" y="3915527"/>
              <a:chExt cx="907640" cy="227124"/>
            </a:xfrm>
          </p:grpSpPr>
          <p:sp>
            <p:nvSpPr>
              <p:cNvPr id="338" name="Freeform: Shape 337">
                <a:extLst>
                  <a:ext uri="{FF2B5EF4-FFF2-40B4-BE49-F238E27FC236}">
                    <a16:creationId xmlns:a16="http://schemas.microsoft.com/office/drawing/2014/main" id="{1C12C61C-8889-4779-9DA9-49F7F949D747}"/>
                  </a:ext>
                </a:extLst>
              </p:cNvPr>
              <p:cNvSpPr/>
              <p:nvPr/>
            </p:nvSpPr>
            <p:spPr>
              <a:xfrm>
                <a:off x="6782584" y="3922669"/>
                <a:ext cx="906783" cy="219982"/>
              </a:xfrm>
              <a:custGeom>
                <a:avLst/>
                <a:gdLst>
                  <a:gd name="connsiteX0" fmla="*/ 0 w 906783"/>
                  <a:gd name="connsiteY0" fmla="*/ 219982 h 219982"/>
                  <a:gd name="connsiteX1" fmla="*/ 228553 w 906783"/>
                  <a:gd name="connsiteY1" fmla="*/ 146560 h 219982"/>
                  <a:gd name="connsiteX2" fmla="*/ 460248 w 906783"/>
                  <a:gd name="connsiteY2" fmla="*/ 83708 h 219982"/>
                  <a:gd name="connsiteX3" fmla="*/ 577668 w 906783"/>
                  <a:gd name="connsiteY3" fmla="*/ 57138 h 219982"/>
                  <a:gd name="connsiteX4" fmla="*/ 637663 w 906783"/>
                  <a:gd name="connsiteY4" fmla="*/ 46853 h 219982"/>
                  <a:gd name="connsiteX5" fmla="*/ 653376 w 906783"/>
                  <a:gd name="connsiteY5" fmla="*/ 45425 h 219982"/>
                  <a:gd name="connsiteX6" fmla="*/ 661946 w 906783"/>
                  <a:gd name="connsiteY6" fmla="*/ 45425 h 219982"/>
                  <a:gd name="connsiteX7" fmla="*/ 669660 w 906783"/>
                  <a:gd name="connsiteY7" fmla="*/ 45996 h 219982"/>
                  <a:gd name="connsiteX8" fmla="*/ 699943 w 906783"/>
                  <a:gd name="connsiteY8" fmla="*/ 49425 h 219982"/>
                  <a:gd name="connsiteX9" fmla="*/ 759367 w 906783"/>
                  <a:gd name="connsiteY9" fmla="*/ 59709 h 219982"/>
                  <a:gd name="connsiteX10" fmla="*/ 817362 w 906783"/>
                  <a:gd name="connsiteY10" fmla="*/ 68852 h 219982"/>
                  <a:gd name="connsiteX11" fmla="*/ 823933 w 906783"/>
                  <a:gd name="connsiteY11" fmla="*/ 68852 h 219982"/>
                  <a:gd name="connsiteX12" fmla="*/ 829361 w 906783"/>
                  <a:gd name="connsiteY12" fmla="*/ 67423 h 219982"/>
                  <a:gd name="connsiteX13" fmla="*/ 841360 w 906783"/>
                  <a:gd name="connsiteY13" fmla="*/ 60566 h 219982"/>
                  <a:gd name="connsiteX14" fmla="*/ 864216 w 906783"/>
                  <a:gd name="connsiteY14" fmla="*/ 41997 h 219982"/>
                  <a:gd name="connsiteX15" fmla="*/ 906784 w 906783"/>
                  <a:gd name="connsiteY15" fmla="*/ 0 h 219982"/>
                  <a:gd name="connsiteX16" fmla="*/ 869072 w 906783"/>
                  <a:gd name="connsiteY16" fmla="*/ 47139 h 219982"/>
                  <a:gd name="connsiteX17" fmla="*/ 847360 w 906783"/>
                  <a:gd name="connsiteY17" fmla="*/ 68566 h 219982"/>
                  <a:gd name="connsiteX18" fmla="*/ 834218 w 906783"/>
                  <a:gd name="connsiteY18" fmla="*/ 77994 h 219982"/>
                  <a:gd name="connsiteX19" fmla="*/ 825647 w 906783"/>
                  <a:gd name="connsiteY19" fmla="*/ 81422 h 219982"/>
                  <a:gd name="connsiteX20" fmla="*/ 817077 w 906783"/>
                  <a:gd name="connsiteY20" fmla="*/ 82565 h 219982"/>
                  <a:gd name="connsiteX21" fmla="*/ 755939 w 906783"/>
                  <a:gd name="connsiteY21" fmla="*/ 77708 h 219982"/>
                  <a:gd name="connsiteX22" fmla="*/ 696801 w 906783"/>
                  <a:gd name="connsiteY22" fmla="*/ 70851 h 219982"/>
                  <a:gd name="connsiteX23" fmla="*/ 667375 w 906783"/>
                  <a:gd name="connsiteY23" fmla="*/ 69137 h 219982"/>
                  <a:gd name="connsiteX24" fmla="*/ 659947 w 906783"/>
                  <a:gd name="connsiteY24" fmla="*/ 68852 h 219982"/>
                  <a:gd name="connsiteX25" fmla="*/ 653661 w 906783"/>
                  <a:gd name="connsiteY25" fmla="*/ 69137 h 219982"/>
                  <a:gd name="connsiteX26" fmla="*/ 639662 w 906783"/>
                  <a:gd name="connsiteY26" fmla="*/ 70851 h 219982"/>
                  <a:gd name="connsiteX27" fmla="*/ 581667 w 906783"/>
                  <a:gd name="connsiteY27" fmla="*/ 82565 h 219982"/>
                  <a:gd name="connsiteX28" fmla="*/ 465391 w 906783"/>
                  <a:gd name="connsiteY28" fmla="*/ 110277 h 219982"/>
                  <a:gd name="connsiteX29" fmla="*/ 232838 w 906783"/>
                  <a:gd name="connsiteY29" fmla="*/ 167129 h 219982"/>
                  <a:gd name="connsiteX30" fmla="*/ 0 w 906783"/>
                  <a:gd name="connsiteY30" fmla="*/ 219982 h 2199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</a:cxnLst>
                <a:rect l="l" t="t" r="r" b="b"/>
                <a:pathLst>
                  <a:path w="906783" h="219982">
                    <a:moveTo>
                      <a:pt x="0" y="219982"/>
                    </a:moveTo>
                    <a:cubicBezTo>
                      <a:pt x="75708" y="193413"/>
                      <a:pt x="151702" y="169129"/>
                      <a:pt x="228553" y="146560"/>
                    </a:cubicBezTo>
                    <a:cubicBezTo>
                      <a:pt x="305118" y="123990"/>
                      <a:pt x="382540" y="103135"/>
                      <a:pt x="460248" y="83708"/>
                    </a:cubicBezTo>
                    <a:cubicBezTo>
                      <a:pt x="499102" y="74280"/>
                      <a:pt x="538242" y="65138"/>
                      <a:pt x="577668" y="57138"/>
                    </a:cubicBezTo>
                    <a:cubicBezTo>
                      <a:pt x="597380" y="53139"/>
                      <a:pt x="617093" y="49710"/>
                      <a:pt x="637663" y="46853"/>
                    </a:cubicBezTo>
                    <a:cubicBezTo>
                      <a:pt x="642805" y="46282"/>
                      <a:pt x="647948" y="45711"/>
                      <a:pt x="653376" y="45425"/>
                    </a:cubicBezTo>
                    <a:lnTo>
                      <a:pt x="661946" y="45425"/>
                    </a:lnTo>
                    <a:lnTo>
                      <a:pt x="669660" y="45996"/>
                    </a:lnTo>
                    <a:cubicBezTo>
                      <a:pt x="679945" y="46853"/>
                      <a:pt x="689944" y="47996"/>
                      <a:pt x="699943" y="49425"/>
                    </a:cubicBezTo>
                    <a:cubicBezTo>
                      <a:pt x="719942" y="52281"/>
                      <a:pt x="739940" y="55710"/>
                      <a:pt x="759367" y="59709"/>
                    </a:cubicBezTo>
                    <a:cubicBezTo>
                      <a:pt x="778794" y="63423"/>
                      <a:pt x="798792" y="67995"/>
                      <a:pt x="817362" y="68852"/>
                    </a:cubicBezTo>
                    <a:cubicBezTo>
                      <a:pt x="819648" y="69137"/>
                      <a:pt x="821648" y="68852"/>
                      <a:pt x="823933" y="68852"/>
                    </a:cubicBezTo>
                    <a:cubicBezTo>
                      <a:pt x="825647" y="68566"/>
                      <a:pt x="827362" y="68280"/>
                      <a:pt x="829361" y="67423"/>
                    </a:cubicBezTo>
                    <a:cubicBezTo>
                      <a:pt x="833361" y="65709"/>
                      <a:pt x="837361" y="63138"/>
                      <a:pt x="841360" y="60566"/>
                    </a:cubicBezTo>
                    <a:cubicBezTo>
                      <a:pt x="849360" y="55138"/>
                      <a:pt x="856788" y="48567"/>
                      <a:pt x="864216" y="41997"/>
                    </a:cubicBezTo>
                    <a:cubicBezTo>
                      <a:pt x="878786" y="28569"/>
                      <a:pt x="893070" y="14570"/>
                      <a:pt x="906784" y="0"/>
                    </a:cubicBezTo>
                    <a:cubicBezTo>
                      <a:pt x="895070" y="16284"/>
                      <a:pt x="882786" y="31997"/>
                      <a:pt x="869072" y="47139"/>
                    </a:cubicBezTo>
                    <a:cubicBezTo>
                      <a:pt x="862216" y="54567"/>
                      <a:pt x="855359" y="61995"/>
                      <a:pt x="847360" y="68566"/>
                    </a:cubicBezTo>
                    <a:cubicBezTo>
                      <a:pt x="843360" y="71994"/>
                      <a:pt x="839361" y="75137"/>
                      <a:pt x="834218" y="77994"/>
                    </a:cubicBezTo>
                    <a:cubicBezTo>
                      <a:pt x="831933" y="79422"/>
                      <a:pt x="828790" y="80565"/>
                      <a:pt x="825647" y="81422"/>
                    </a:cubicBezTo>
                    <a:cubicBezTo>
                      <a:pt x="822791" y="81993"/>
                      <a:pt x="819934" y="82565"/>
                      <a:pt x="817077" y="82565"/>
                    </a:cubicBezTo>
                    <a:cubicBezTo>
                      <a:pt x="795650" y="83136"/>
                      <a:pt x="775937" y="79708"/>
                      <a:pt x="755939" y="77708"/>
                    </a:cubicBezTo>
                    <a:cubicBezTo>
                      <a:pt x="736226" y="75422"/>
                      <a:pt x="716513" y="72566"/>
                      <a:pt x="696801" y="70851"/>
                    </a:cubicBezTo>
                    <a:cubicBezTo>
                      <a:pt x="687087" y="69994"/>
                      <a:pt x="677088" y="69423"/>
                      <a:pt x="667375" y="69137"/>
                    </a:cubicBezTo>
                    <a:lnTo>
                      <a:pt x="659947" y="68852"/>
                    </a:lnTo>
                    <a:lnTo>
                      <a:pt x="653661" y="69137"/>
                    </a:lnTo>
                    <a:cubicBezTo>
                      <a:pt x="649090" y="69709"/>
                      <a:pt x="644519" y="69994"/>
                      <a:pt x="639662" y="70851"/>
                    </a:cubicBezTo>
                    <a:cubicBezTo>
                      <a:pt x="620521" y="73994"/>
                      <a:pt x="601094" y="78279"/>
                      <a:pt x="581667" y="82565"/>
                    </a:cubicBezTo>
                    <a:cubicBezTo>
                      <a:pt x="542813" y="91135"/>
                      <a:pt x="504245" y="100563"/>
                      <a:pt x="465391" y="110277"/>
                    </a:cubicBezTo>
                    <a:lnTo>
                      <a:pt x="232838" y="167129"/>
                    </a:lnTo>
                    <a:cubicBezTo>
                      <a:pt x="156273" y="185985"/>
                      <a:pt x="78279" y="203412"/>
                      <a:pt x="0" y="219982"/>
                    </a:cubicBezTo>
                    <a:close/>
                  </a:path>
                </a:pathLst>
              </a:custGeom>
              <a:solidFill>
                <a:srgbClr val="FFDDF3"/>
              </a:solidFill>
              <a:ln w="2850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39" name="Freeform: Shape 338">
                <a:extLst>
                  <a:ext uri="{FF2B5EF4-FFF2-40B4-BE49-F238E27FC236}">
                    <a16:creationId xmlns:a16="http://schemas.microsoft.com/office/drawing/2014/main" id="{92F03F1D-60A7-4F5F-B137-364DE9420917}"/>
                  </a:ext>
                </a:extLst>
              </p:cNvPr>
              <p:cNvSpPr/>
              <p:nvPr/>
            </p:nvSpPr>
            <p:spPr>
              <a:xfrm>
                <a:off x="6781727" y="3915527"/>
                <a:ext cx="907355" cy="227124"/>
              </a:xfrm>
              <a:custGeom>
                <a:avLst/>
                <a:gdLst>
                  <a:gd name="connsiteX0" fmla="*/ 907355 w 907355"/>
                  <a:gd name="connsiteY0" fmla="*/ 0 h 227124"/>
                  <a:gd name="connsiteX1" fmla="*/ 867930 w 907355"/>
                  <a:gd name="connsiteY1" fmla="*/ 45425 h 227124"/>
                  <a:gd name="connsiteX2" fmla="*/ 845932 w 907355"/>
                  <a:gd name="connsiteY2" fmla="*/ 65995 h 227124"/>
                  <a:gd name="connsiteX3" fmla="*/ 833075 w 907355"/>
                  <a:gd name="connsiteY3" fmla="*/ 74565 h 227124"/>
                  <a:gd name="connsiteX4" fmla="*/ 817648 w 907355"/>
                  <a:gd name="connsiteY4" fmla="*/ 77994 h 227124"/>
                  <a:gd name="connsiteX5" fmla="*/ 757653 w 907355"/>
                  <a:gd name="connsiteY5" fmla="*/ 71423 h 227124"/>
                  <a:gd name="connsiteX6" fmla="*/ 698229 w 907355"/>
                  <a:gd name="connsiteY6" fmla="*/ 63709 h 227124"/>
                  <a:gd name="connsiteX7" fmla="*/ 639377 w 907355"/>
                  <a:gd name="connsiteY7" fmla="*/ 63423 h 227124"/>
                  <a:gd name="connsiteX8" fmla="*/ 580810 w 907355"/>
                  <a:gd name="connsiteY8" fmla="*/ 75137 h 227124"/>
                  <a:gd name="connsiteX9" fmla="*/ 464248 w 907355"/>
                  <a:gd name="connsiteY9" fmla="*/ 103992 h 227124"/>
                  <a:gd name="connsiteX10" fmla="*/ 231981 w 907355"/>
                  <a:gd name="connsiteY10" fmla="*/ 165129 h 227124"/>
                  <a:gd name="connsiteX11" fmla="*/ 0 w 907355"/>
                  <a:gd name="connsiteY11" fmla="*/ 227124 h 227124"/>
                  <a:gd name="connsiteX12" fmla="*/ 114848 w 907355"/>
                  <a:gd name="connsiteY12" fmla="*/ 191699 h 227124"/>
                  <a:gd name="connsiteX13" fmla="*/ 230267 w 907355"/>
                  <a:gd name="connsiteY13" fmla="*/ 157987 h 227124"/>
                  <a:gd name="connsiteX14" fmla="*/ 461963 w 907355"/>
                  <a:gd name="connsiteY14" fmla="*/ 94564 h 227124"/>
                  <a:gd name="connsiteX15" fmla="*/ 579096 w 907355"/>
                  <a:gd name="connsiteY15" fmla="*/ 66566 h 227124"/>
                  <a:gd name="connsiteX16" fmla="*/ 638520 w 907355"/>
                  <a:gd name="connsiteY16" fmla="*/ 55138 h 227124"/>
                  <a:gd name="connsiteX17" fmla="*/ 653947 w 907355"/>
                  <a:gd name="connsiteY17" fmla="*/ 53710 h 227124"/>
                  <a:gd name="connsiteX18" fmla="*/ 661661 w 907355"/>
                  <a:gd name="connsiteY18" fmla="*/ 53139 h 227124"/>
                  <a:gd name="connsiteX19" fmla="*/ 669374 w 907355"/>
                  <a:gd name="connsiteY19" fmla="*/ 53710 h 227124"/>
                  <a:gd name="connsiteX20" fmla="*/ 699372 w 907355"/>
                  <a:gd name="connsiteY20" fmla="*/ 56567 h 227124"/>
                  <a:gd name="connsiteX21" fmla="*/ 758796 w 907355"/>
                  <a:gd name="connsiteY21" fmla="*/ 65709 h 227124"/>
                  <a:gd name="connsiteX22" fmla="*/ 817934 w 907355"/>
                  <a:gd name="connsiteY22" fmla="*/ 73423 h 227124"/>
                  <a:gd name="connsiteX23" fmla="*/ 843932 w 907355"/>
                  <a:gd name="connsiteY23" fmla="*/ 63138 h 227124"/>
                  <a:gd name="connsiteX24" fmla="*/ 866501 w 907355"/>
                  <a:gd name="connsiteY24" fmla="*/ 43711 h 227124"/>
                  <a:gd name="connsiteX25" fmla="*/ 907355 w 907355"/>
                  <a:gd name="connsiteY25" fmla="*/ 0 h 2271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</a:cxnLst>
                <a:rect l="l" t="t" r="r" b="b"/>
                <a:pathLst>
                  <a:path w="907355" h="227124">
                    <a:moveTo>
                      <a:pt x="907355" y="0"/>
                    </a:moveTo>
                    <a:cubicBezTo>
                      <a:pt x="894785" y="15713"/>
                      <a:pt x="881929" y="30855"/>
                      <a:pt x="867930" y="45425"/>
                    </a:cubicBezTo>
                    <a:cubicBezTo>
                      <a:pt x="861073" y="52567"/>
                      <a:pt x="853645" y="59709"/>
                      <a:pt x="845932" y="65995"/>
                    </a:cubicBezTo>
                    <a:cubicBezTo>
                      <a:pt x="841932" y="69137"/>
                      <a:pt x="837932" y="72280"/>
                      <a:pt x="833075" y="74565"/>
                    </a:cubicBezTo>
                    <a:cubicBezTo>
                      <a:pt x="828219" y="77137"/>
                      <a:pt x="822790" y="78279"/>
                      <a:pt x="817648" y="77994"/>
                    </a:cubicBezTo>
                    <a:cubicBezTo>
                      <a:pt x="797078" y="77994"/>
                      <a:pt x="777366" y="74280"/>
                      <a:pt x="757653" y="71423"/>
                    </a:cubicBezTo>
                    <a:cubicBezTo>
                      <a:pt x="737940" y="68566"/>
                      <a:pt x="718228" y="65709"/>
                      <a:pt x="698229" y="63709"/>
                    </a:cubicBezTo>
                    <a:cubicBezTo>
                      <a:pt x="678516" y="61709"/>
                      <a:pt x="658518" y="60281"/>
                      <a:pt x="639377" y="63423"/>
                    </a:cubicBezTo>
                    <a:cubicBezTo>
                      <a:pt x="619950" y="66566"/>
                      <a:pt x="600237" y="70851"/>
                      <a:pt x="580810" y="75137"/>
                    </a:cubicBezTo>
                    <a:cubicBezTo>
                      <a:pt x="541956" y="83993"/>
                      <a:pt x="503102" y="93707"/>
                      <a:pt x="464248" y="103992"/>
                    </a:cubicBezTo>
                    <a:cubicBezTo>
                      <a:pt x="386540" y="123419"/>
                      <a:pt x="309404" y="144560"/>
                      <a:pt x="231981" y="165129"/>
                    </a:cubicBezTo>
                    <a:lnTo>
                      <a:pt x="0" y="227124"/>
                    </a:lnTo>
                    <a:lnTo>
                      <a:pt x="114848" y="191699"/>
                    </a:lnTo>
                    <a:lnTo>
                      <a:pt x="230267" y="157987"/>
                    </a:lnTo>
                    <a:cubicBezTo>
                      <a:pt x="307118" y="135703"/>
                      <a:pt x="384540" y="114848"/>
                      <a:pt x="461963" y="94564"/>
                    </a:cubicBezTo>
                    <a:cubicBezTo>
                      <a:pt x="500817" y="84850"/>
                      <a:pt x="539671" y="75422"/>
                      <a:pt x="579096" y="66566"/>
                    </a:cubicBezTo>
                    <a:cubicBezTo>
                      <a:pt x="598809" y="62281"/>
                      <a:pt x="618521" y="58281"/>
                      <a:pt x="638520" y="55138"/>
                    </a:cubicBezTo>
                    <a:cubicBezTo>
                      <a:pt x="643376" y="53996"/>
                      <a:pt x="648805" y="54281"/>
                      <a:pt x="653947" y="53710"/>
                    </a:cubicBezTo>
                    <a:lnTo>
                      <a:pt x="661661" y="53139"/>
                    </a:lnTo>
                    <a:lnTo>
                      <a:pt x="669374" y="53710"/>
                    </a:lnTo>
                    <a:cubicBezTo>
                      <a:pt x="679374" y="54281"/>
                      <a:pt x="689373" y="55424"/>
                      <a:pt x="699372" y="56567"/>
                    </a:cubicBezTo>
                    <a:cubicBezTo>
                      <a:pt x="719370" y="59138"/>
                      <a:pt x="739083" y="62281"/>
                      <a:pt x="758796" y="65709"/>
                    </a:cubicBezTo>
                    <a:cubicBezTo>
                      <a:pt x="778508" y="68852"/>
                      <a:pt x="798221" y="73137"/>
                      <a:pt x="817934" y="73423"/>
                    </a:cubicBezTo>
                    <a:cubicBezTo>
                      <a:pt x="827933" y="74280"/>
                      <a:pt x="835932" y="69137"/>
                      <a:pt x="843932" y="63138"/>
                    </a:cubicBezTo>
                    <a:cubicBezTo>
                      <a:pt x="851931" y="57138"/>
                      <a:pt x="859359" y="50567"/>
                      <a:pt x="866501" y="43711"/>
                    </a:cubicBezTo>
                    <a:cubicBezTo>
                      <a:pt x="880786" y="29998"/>
                      <a:pt x="894213" y="15142"/>
                      <a:pt x="907355" y="0"/>
                    </a:cubicBezTo>
                    <a:close/>
                  </a:path>
                </a:pathLst>
              </a:custGeom>
              <a:solidFill>
                <a:srgbClr val="286B14"/>
              </a:solidFill>
              <a:ln w="2850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sp>
          <p:nvSpPr>
            <p:cNvPr id="340" name="Freeform: Shape 339">
              <a:extLst>
                <a:ext uri="{FF2B5EF4-FFF2-40B4-BE49-F238E27FC236}">
                  <a16:creationId xmlns:a16="http://schemas.microsoft.com/office/drawing/2014/main" id="{34BFA165-236D-4285-B1C9-8C98413E3434}"/>
                </a:ext>
              </a:extLst>
            </p:cNvPr>
            <p:cNvSpPr/>
            <p:nvPr/>
          </p:nvSpPr>
          <p:spPr>
            <a:xfrm>
              <a:off x="6946571" y="3673546"/>
              <a:ext cx="489759" cy="301197"/>
            </a:xfrm>
            <a:custGeom>
              <a:avLst/>
              <a:gdLst>
                <a:gd name="connsiteX0" fmla="*/ 476818 w 489759"/>
                <a:gd name="connsiteY0" fmla="*/ 9142 h 301197"/>
                <a:gd name="connsiteX1" fmla="*/ 361685 w 489759"/>
                <a:gd name="connsiteY1" fmla="*/ 243123 h 301197"/>
                <a:gd name="connsiteX2" fmla="*/ 98849 w 489759"/>
                <a:gd name="connsiteY2" fmla="*/ 162844 h 301197"/>
                <a:gd name="connsiteX3" fmla="*/ 87993 w 489759"/>
                <a:gd name="connsiteY3" fmla="*/ 0 h 301197"/>
                <a:gd name="connsiteX4" fmla="*/ 0 w 489759"/>
                <a:gd name="connsiteY4" fmla="*/ 214554 h 301197"/>
                <a:gd name="connsiteX5" fmla="*/ 144560 w 489759"/>
                <a:gd name="connsiteY5" fmla="*/ 278263 h 301197"/>
                <a:gd name="connsiteX6" fmla="*/ 338830 w 489759"/>
                <a:gd name="connsiteY6" fmla="*/ 285691 h 301197"/>
                <a:gd name="connsiteX7" fmla="*/ 476818 w 489759"/>
                <a:gd name="connsiteY7" fmla="*/ 9142 h 3011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89759" h="301197">
                  <a:moveTo>
                    <a:pt x="476818" y="9142"/>
                  </a:moveTo>
                  <a:cubicBezTo>
                    <a:pt x="476818" y="9142"/>
                    <a:pt x="503673" y="184271"/>
                    <a:pt x="361685" y="243123"/>
                  </a:cubicBezTo>
                  <a:cubicBezTo>
                    <a:pt x="213983" y="304547"/>
                    <a:pt x="116562" y="197984"/>
                    <a:pt x="98849" y="162844"/>
                  </a:cubicBezTo>
                  <a:cubicBezTo>
                    <a:pt x="81136" y="127704"/>
                    <a:pt x="56853" y="55995"/>
                    <a:pt x="87993" y="0"/>
                  </a:cubicBezTo>
                  <a:lnTo>
                    <a:pt x="0" y="214554"/>
                  </a:lnTo>
                  <a:cubicBezTo>
                    <a:pt x="0" y="214554"/>
                    <a:pt x="82565" y="207983"/>
                    <a:pt x="144560" y="278263"/>
                  </a:cubicBezTo>
                  <a:cubicBezTo>
                    <a:pt x="171700" y="308832"/>
                    <a:pt x="254551" y="306261"/>
                    <a:pt x="338830" y="285691"/>
                  </a:cubicBezTo>
                  <a:cubicBezTo>
                    <a:pt x="422823" y="265407"/>
                    <a:pt x="526529" y="156559"/>
                    <a:pt x="476818" y="9142"/>
                  </a:cubicBezTo>
                  <a:close/>
                </a:path>
              </a:pathLst>
            </a:custGeom>
            <a:solidFill>
              <a:srgbClr val="308218"/>
            </a:solidFill>
            <a:ln w="2850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grpSp>
          <p:nvGrpSpPr>
            <p:cNvPr id="341" name="Graphic 1287">
              <a:extLst>
                <a:ext uri="{FF2B5EF4-FFF2-40B4-BE49-F238E27FC236}">
                  <a16:creationId xmlns:a16="http://schemas.microsoft.com/office/drawing/2014/main" id="{3AF0CC9A-49BC-41AD-A10C-81F1C9646867}"/>
                </a:ext>
              </a:extLst>
            </p:cNvPr>
            <p:cNvGrpSpPr/>
            <p:nvPr/>
          </p:nvGrpSpPr>
          <p:grpSpPr>
            <a:xfrm>
              <a:off x="8037625" y="3074201"/>
              <a:ext cx="1218186" cy="210234"/>
              <a:chOff x="8037625" y="3074201"/>
              <a:chExt cx="1218186" cy="210234"/>
            </a:xfrm>
            <a:solidFill>
              <a:srgbClr val="73D927"/>
            </a:solidFill>
          </p:grpSpPr>
          <p:sp>
            <p:nvSpPr>
              <p:cNvPr id="342" name="Freeform: Shape 341">
                <a:extLst>
                  <a:ext uri="{FF2B5EF4-FFF2-40B4-BE49-F238E27FC236}">
                    <a16:creationId xmlns:a16="http://schemas.microsoft.com/office/drawing/2014/main" id="{D9F8DCB7-416F-4FBD-9512-F9715695EA44}"/>
                  </a:ext>
                </a:extLst>
              </p:cNvPr>
              <p:cNvSpPr/>
              <p:nvPr/>
            </p:nvSpPr>
            <p:spPr>
              <a:xfrm>
                <a:off x="8037625" y="3207103"/>
                <a:ext cx="76565" cy="77331"/>
              </a:xfrm>
              <a:custGeom>
                <a:avLst/>
                <a:gdLst>
                  <a:gd name="connsiteX0" fmla="*/ 0 w 76565"/>
                  <a:gd name="connsiteY0" fmla="*/ 77332 h 77331"/>
                  <a:gd name="connsiteX1" fmla="*/ 2857 w 76565"/>
                  <a:gd name="connsiteY1" fmla="*/ 8766 h 77331"/>
                  <a:gd name="connsiteX2" fmla="*/ 16856 w 76565"/>
                  <a:gd name="connsiteY2" fmla="*/ 1052 h 77331"/>
                  <a:gd name="connsiteX3" fmla="*/ 76565 w 76565"/>
                  <a:gd name="connsiteY3" fmla="*/ 30764 h 77331"/>
                  <a:gd name="connsiteX4" fmla="*/ 0 w 76565"/>
                  <a:gd name="connsiteY4" fmla="*/ 77332 h 77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6565" h="77331">
                    <a:moveTo>
                      <a:pt x="0" y="77332"/>
                    </a:moveTo>
                    <a:cubicBezTo>
                      <a:pt x="286" y="54191"/>
                      <a:pt x="1143" y="31050"/>
                      <a:pt x="2857" y="8766"/>
                    </a:cubicBezTo>
                    <a:cubicBezTo>
                      <a:pt x="3428" y="2195"/>
                      <a:pt x="10856" y="-2090"/>
                      <a:pt x="16856" y="1052"/>
                    </a:cubicBezTo>
                    <a:lnTo>
                      <a:pt x="76565" y="30764"/>
                    </a:lnTo>
                    <a:cubicBezTo>
                      <a:pt x="50567" y="45334"/>
                      <a:pt x="25141" y="61047"/>
                      <a:pt x="0" y="77332"/>
                    </a:cubicBezTo>
                    <a:close/>
                  </a:path>
                </a:pathLst>
              </a:custGeom>
              <a:solidFill>
                <a:srgbClr val="73D927"/>
              </a:solidFill>
              <a:ln w="2850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43" name="Freeform: Shape 342">
                <a:extLst>
                  <a:ext uri="{FF2B5EF4-FFF2-40B4-BE49-F238E27FC236}">
                    <a16:creationId xmlns:a16="http://schemas.microsoft.com/office/drawing/2014/main" id="{94255D8F-3B4B-4234-93D1-B4F3E3EAAF87}"/>
                  </a:ext>
                </a:extLst>
              </p:cNvPr>
              <p:cNvSpPr/>
              <p:nvPr/>
            </p:nvSpPr>
            <p:spPr>
              <a:xfrm>
                <a:off x="8114191" y="3165426"/>
                <a:ext cx="79136" cy="72441"/>
              </a:xfrm>
              <a:custGeom>
                <a:avLst/>
                <a:gdLst>
                  <a:gd name="connsiteX0" fmla="*/ 0 w 79136"/>
                  <a:gd name="connsiteY0" fmla="*/ 72441 h 72441"/>
                  <a:gd name="connsiteX1" fmla="*/ 9142 w 79136"/>
                  <a:gd name="connsiteY1" fmla="*/ 7875 h 72441"/>
                  <a:gd name="connsiteX2" fmla="*/ 23712 w 79136"/>
                  <a:gd name="connsiteY2" fmla="*/ 1018 h 72441"/>
                  <a:gd name="connsiteX3" fmla="*/ 79136 w 79136"/>
                  <a:gd name="connsiteY3" fmla="*/ 31302 h 72441"/>
                  <a:gd name="connsiteX4" fmla="*/ 0 w 79136"/>
                  <a:gd name="connsiteY4" fmla="*/ 72441 h 724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136" h="72441">
                    <a:moveTo>
                      <a:pt x="0" y="72441"/>
                    </a:moveTo>
                    <a:cubicBezTo>
                      <a:pt x="2285" y="50443"/>
                      <a:pt x="5142" y="28731"/>
                      <a:pt x="9142" y="7875"/>
                    </a:cubicBezTo>
                    <a:cubicBezTo>
                      <a:pt x="10285" y="1590"/>
                      <a:pt x="17998" y="-1838"/>
                      <a:pt x="23712" y="1018"/>
                    </a:cubicBezTo>
                    <a:cubicBezTo>
                      <a:pt x="42854" y="11303"/>
                      <a:pt x="61424" y="21303"/>
                      <a:pt x="79136" y="31302"/>
                    </a:cubicBezTo>
                    <a:cubicBezTo>
                      <a:pt x="52281" y="43872"/>
                      <a:pt x="25712" y="57585"/>
                      <a:pt x="0" y="72441"/>
                    </a:cubicBezTo>
                    <a:close/>
                  </a:path>
                </a:pathLst>
              </a:custGeom>
              <a:solidFill>
                <a:srgbClr val="73D927"/>
              </a:solidFill>
              <a:ln w="2850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44" name="Freeform: Shape 343">
                <a:extLst>
                  <a:ext uri="{FF2B5EF4-FFF2-40B4-BE49-F238E27FC236}">
                    <a16:creationId xmlns:a16="http://schemas.microsoft.com/office/drawing/2014/main" id="{D94CBADD-EBB6-4AA8-91CE-BA1AAB398C88}"/>
                  </a:ext>
                </a:extLst>
              </p:cNvPr>
              <p:cNvSpPr/>
              <p:nvPr/>
            </p:nvSpPr>
            <p:spPr>
              <a:xfrm>
                <a:off x="8193327" y="3130007"/>
                <a:ext cx="81993" cy="66721"/>
              </a:xfrm>
              <a:custGeom>
                <a:avLst/>
                <a:gdLst>
                  <a:gd name="connsiteX0" fmla="*/ 0 w 81993"/>
                  <a:gd name="connsiteY0" fmla="*/ 66721 h 66721"/>
                  <a:gd name="connsiteX1" fmla="*/ 15713 w 81993"/>
                  <a:gd name="connsiteY1" fmla="*/ 6726 h 66721"/>
                  <a:gd name="connsiteX2" fmla="*/ 30855 w 81993"/>
                  <a:gd name="connsiteY2" fmla="*/ 1298 h 66721"/>
                  <a:gd name="connsiteX3" fmla="*/ 81993 w 81993"/>
                  <a:gd name="connsiteY3" fmla="*/ 32438 h 66721"/>
                  <a:gd name="connsiteX4" fmla="*/ 0 w 81993"/>
                  <a:gd name="connsiteY4" fmla="*/ 66721 h 667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1993" h="66721">
                    <a:moveTo>
                      <a:pt x="0" y="66721"/>
                    </a:moveTo>
                    <a:cubicBezTo>
                      <a:pt x="4285" y="46151"/>
                      <a:pt x="9714" y="26439"/>
                      <a:pt x="15713" y="6726"/>
                    </a:cubicBezTo>
                    <a:cubicBezTo>
                      <a:pt x="17427" y="1012"/>
                      <a:pt x="25712" y="-1845"/>
                      <a:pt x="30855" y="1298"/>
                    </a:cubicBezTo>
                    <a:cubicBezTo>
                      <a:pt x="48568" y="11583"/>
                      <a:pt x="65709" y="22153"/>
                      <a:pt x="81993" y="32438"/>
                    </a:cubicBezTo>
                    <a:cubicBezTo>
                      <a:pt x="54281" y="42437"/>
                      <a:pt x="26855" y="53865"/>
                      <a:pt x="0" y="66721"/>
                    </a:cubicBezTo>
                    <a:close/>
                  </a:path>
                </a:pathLst>
              </a:custGeom>
              <a:solidFill>
                <a:srgbClr val="73D927"/>
              </a:solidFill>
              <a:ln w="2850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45" name="Freeform: Shape 344">
                <a:extLst>
                  <a:ext uri="{FF2B5EF4-FFF2-40B4-BE49-F238E27FC236}">
                    <a16:creationId xmlns:a16="http://schemas.microsoft.com/office/drawing/2014/main" id="{79345103-D977-46CF-81EA-779CE124F6CB}"/>
                  </a:ext>
                </a:extLst>
              </p:cNvPr>
              <p:cNvSpPr/>
              <p:nvPr/>
            </p:nvSpPr>
            <p:spPr>
              <a:xfrm>
                <a:off x="8275320" y="3102820"/>
                <a:ext cx="85135" cy="59625"/>
              </a:xfrm>
              <a:custGeom>
                <a:avLst/>
                <a:gdLst>
                  <a:gd name="connsiteX0" fmla="*/ 0 w 85135"/>
                  <a:gd name="connsiteY0" fmla="*/ 59625 h 59625"/>
                  <a:gd name="connsiteX1" fmla="*/ 22855 w 85135"/>
                  <a:gd name="connsiteY1" fmla="*/ 5630 h 59625"/>
                  <a:gd name="connsiteX2" fmla="*/ 38568 w 85135"/>
                  <a:gd name="connsiteY2" fmla="*/ 1630 h 59625"/>
                  <a:gd name="connsiteX3" fmla="*/ 85136 w 85135"/>
                  <a:gd name="connsiteY3" fmla="*/ 33913 h 59625"/>
                  <a:gd name="connsiteX4" fmla="*/ 63709 w 85135"/>
                  <a:gd name="connsiteY4" fmla="*/ 39627 h 59625"/>
                  <a:gd name="connsiteX5" fmla="*/ 42282 w 85135"/>
                  <a:gd name="connsiteY5" fmla="*/ 45912 h 59625"/>
                  <a:gd name="connsiteX6" fmla="*/ 0 w 85135"/>
                  <a:gd name="connsiteY6" fmla="*/ 59625 h 596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85135" h="59625">
                    <a:moveTo>
                      <a:pt x="0" y="59625"/>
                    </a:moveTo>
                    <a:cubicBezTo>
                      <a:pt x="6857" y="41056"/>
                      <a:pt x="14285" y="22771"/>
                      <a:pt x="22855" y="5630"/>
                    </a:cubicBezTo>
                    <a:cubicBezTo>
                      <a:pt x="25426" y="487"/>
                      <a:pt x="33712" y="-1798"/>
                      <a:pt x="38568" y="1630"/>
                    </a:cubicBezTo>
                    <a:cubicBezTo>
                      <a:pt x="54853" y="12772"/>
                      <a:pt x="70280" y="23057"/>
                      <a:pt x="85136" y="33913"/>
                    </a:cubicBezTo>
                    <a:cubicBezTo>
                      <a:pt x="77994" y="35627"/>
                      <a:pt x="70851" y="37342"/>
                      <a:pt x="63709" y="39627"/>
                    </a:cubicBezTo>
                    <a:cubicBezTo>
                      <a:pt x="56567" y="41627"/>
                      <a:pt x="49425" y="43341"/>
                      <a:pt x="42282" y="45912"/>
                    </a:cubicBezTo>
                    <a:cubicBezTo>
                      <a:pt x="27998" y="49912"/>
                      <a:pt x="13999" y="54483"/>
                      <a:pt x="0" y="59625"/>
                    </a:cubicBezTo>
                    <a:close/>
                  </a:path>
                </a:pathLst>
              </a:custGeom>
              <a:solidFill>
                <a:srgbClr val="73D927"/>
              </a:solidFill>
              <a:ln w="2850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46" name="Freeform: Shape 345">
                <a:extLst>
                  <a:ext uri="{FF2B5EF4-FFF2-40B4-BE49-F238E27FC236}">
                    <a16:creationId xmlns:a16="http://schemas.microsoft.com/office/drawing/2014/main" id="{1643C7E0-9B95-4F5F-99AD-F2ED50A97A49}"/>
                  </a:ext>
                </a:extLst>
              </p:cNvPr>
              <p:cNvSpPr/>
              <p:nvPr/>
            </p:nvSpPr>
            <p:spPr>
              <a:xfrm>
                <a:off x="8360456" y="3085213"/>
                <a:ext cx="87707" cy="51519"/>
              </a:xfrm>
              <a:custGeom>
                <a:avLst/>
                <a:gdLst>
                  <a:gd name="connsiteX0" fmla="*/ 0 w 87707"/>
                  <a:gd name="connsiteY0" fmla="*/ 51520 h 51519"/>
                  <a:gd name="connsiteX1" fmla="*/ 29141 w 87707"/>
                  <a:gd name="connsiteY1" fmla="*/ 4095 h 51519"/>
                  <a:gd name="connsiteX2" fmla="*/ 45139 w 87707"/>
                  <a:gd name="connsiteY2" fmla="*/ 2095 h 51519"/>
                  <a:gd name="connsiteX3" fmla="*/ 87707 w 87707"/>
                  <a:gd name="connsiteY3" fmla="*/ 34950 h 51519"/>
                  <a:gd name="connsiteX4" fmla="*/ 43425 w 87707"/>
                  <a:gd name="connsiteY4" fmla="*/ 42092 h 51519"/>
                  <a:gd name="connsiteX5" fmla="*/ 21712 w 87707"/>
                  <a:gd name="connsiteY5" fmla="*/ 46377 h 51519"/>
                  <a:gd name="connsiteX6" fmla="*/ 0 w 87707"/>
                  <a:gd name="connsiteY6" fmla="*/ 51520 h 515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87707" h="51519">
                    <a:moveTo>
                      <a:pt x="0" y="51520"/>
                    </a:moveTo>
                    <a:cubicBezTo>
                      <a:pt x="8856" y="34950"/>
                      <a:pt x="18856" y="19522"/>
                      <a:pt x="29141" y="4095"/>
                    </a:cubicBezTo>
                    <a:cubicBezTo>
                      <a:pt x="32283" y="-476"/>
                      <a:pt x="40854" y="-1333"/>
                      <a:pt x="45139" y="2095"/>
                    </a:cubicBezTo>
                    <a:lnTo>
                      <a:pt x="87707" y="34950"/>
                    </a:lnTo>
                    <a:cubicBezTo>
                      <a:pt x="72851" y="36664"/>
                      <a:pt x="58281" y="39806"/>
                      <a:pt x="43425" y="42092"/>
                    </a:cubicBezTo>
                    <a:cubicBezTo>
                      <a:pt x="35997" y="43235"/>
                      <a:pt x="28855" y="44949"/>
                      <a:pt x="21712" y="46377"/>
                    </a:cubicBezTo>
                    <a:cubicBezTo>
                      <a:pt x="14285" y="47806"/>
                      <a:pt x="7142" y="49520"/>
                      <a:pt x="0" y="51520"/>
                    </a:cubicBezTo>
                    <a:close/>
                  </a:path>
                </a:pathLst>
              </a:custGeom>
              <a:solidFill>
                <a:srgbClr val="73D927"/>
              </a:solidFill>
              <a:ln w="2850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47" name="Freeform: Shape 346">
                <a:extLst>
                  <a:ext uri="{FF2B5EF4-FFF2-40B4-BE49-F238E27FC236}">
                    <a16:creationId xmlns:a16="http://schemas.microsoft.com/office/drawing/2014/main" id="{E213967B-A6C6-48C6-B074-4B45A6CA3BB1}"/>
                  </a:ext>
                </a:extLst>
              </p:cNvPr>
              <p:cNvSpPr/>
              <p:nvPr/>
            </p:nvSpPr>
            <p:spPr>
              <a:xfrm>
                <a:off x="8448164" y="3076863"/>
                <a:ext cx="89706" cy="43300"/>
              </a:xfrm>
              <a:custGeom>
                <a:avLst/>
                <a:gdLst>
                  <a:gd name="connsiteX0" fmla="*/ 0 w 89706"/>
                  <a:gd name="connsiteY0" fmla="*/ 43300 h 43300"/>
                  <a:gd name="connsiteX1" fmla="*/ 33712 w 89706"/>
                  <a:gd name="connsiteY1" fmla="*/ 3018 h 43300"/>
                  <a:gd name="connsiteX2" fmla="*/ 49710 w 89706"/>
                  <a:gd name="connsiteY2" fmla="*/ 2161 h 43300"/>
                  <a:gd name="connsiteX3" fmla="*/ 89707 w 89706"/>
                  <a:gd name="connsiteY3" fmla="*/ 33872 h 43300"/>
                  <a:gd name="connsiteX4" fmla="*/ 44854 w 89706"/>
                  <a:gd name="connsiteY4" fmla="*/ 37872 h 43300"/>
                  <a:gd name="connsiteX5" fmla="*/ 0 w 89706"/>
                  <a:gd name="connsiteY5" fmla="*/ 43300 h 433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89706" h="43300">
                    <a:moveTo>
                      <a:pt x="0" y="43300"/>
                    </a:moveTo>
                    <a:cubicBezTo>
                      <a:pt x="10856" y="29301"/>
                      <a:pt x="21998" y="15588"/>
                      <a:pt x="33712" y="3018"/>
                    </a:cubicBezTo>
                    <a:cubicBezTo>
                      <a:pt x="37140" y="-696"/>
                      <a:pt x="45711" y="-982"/>
                      <a:pt x="49710" y="2161"/>
                    </a:cubicBezTo>
                    <a:lnTo>
                      <a:pt x="89707" y="33872"/>
                    </a:lnTo>
                    <a:cubicBezTo>
                      <a:pt x="74565" y="34729"/>
                      <a:pt x="59709" y="36443"/>
                      <a:pt x="44854" y="37872"/>
                    </a:cubicBezTo>
                    <a:cubicBezTo>
                      <a:pt x="29712" y="39015"/>
                      <a:pt x="14856" y="41300"/>
                      <a:pt x="0" y="43300"/>
                    </a:cubicBezTo>
                    <a:close/>
                  </a:path>
                </a:pathLst>
              </a:custGeom>
              <a:solidFill>
                <a:srgbClr val="73D927"/>
              </a:solidFill>
              <a:ln w="2850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48" name="Freeform: Shape 347">
                <a:extLst>
                  <a:ext uri="{FF2B5EF4-FFF2-40B4-BE49-F238E27FC236}">
                    <a16:creationId xmlns:a16="http://schemas.microsoft.com/office/drawing/2014/main" id="{5F003A7C-A202-4894-B369-3F018077F962}"/>
                  </a:ext>
                </a:extLst>
              </p:cNvPr>
              <p:cNvSpPr/>
              <p:nvPr/>
            </p:nvSpPr>
            <p:spPr>
              <a:xfrm>
                <a:off x="8537585" y="3074201"/>
                <a:ext cx="90564" cy="36248"/>
              </a:xfrm>
              <a:custGeom>
                <a:avLst/>
                <a:gdLst>
                  <a:gd name="connsiteX0" fmla="*/ 0 w 90564"/>
                  <a:gd name="connsiteY0" fmla="*/ 36248 h 36248"/>
                  <a:gd name="connsiteX1" fmla="*/ 36568 w 90564"/>
                  <a:gd name="connsiteY1" fmla="*/ 2251 h 36248"/>
                  <a:gd name="connsiteX2" fmla="*/ 52567 w 90564"/>
                  <a:gd name="connsiteY2" fmla="*/ 2251 h 36248"/>
                  <a:gd name="connsiteX3" fmla="*/ 90564 w 90564"/>
                  <a:gd name="connsiteY3" fmla="*/ 31963 h 36248"/>
                  <a:gd name="connsiteX4" fmla="*/ 45425 w 90564"/>
                  <a:gd name="connsiteY4" fmla="*/ 33391 h 36248"/>
                  <a:gd name="connsiteX5" fmla="*/ 0 w 90564"/>
                  <a:gd name="connsiteY5" fmla="*/ 36248 h 362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90564" h="36248">
                    <a:moveTo>
                      <a:pt x="0" y="36248"/>
                    </a:moveTo>
                    <a:cubicBezTo>
                      <a:pt x="11999" y="24249"/>
                      <a:pt x="23998" y="12822"/>
                      <a:pt x="36568" y="2251"/>
                    </a:cubicBezTo>
                    <a:cubicBezTo>
                      <a:pt x="40282" y="-892"/>
                      <a:pt x="48567" y="-606"/>
                      <a:pt x="52567" y="2251"/>
                    </a:cubicBezTo>
                    <a:cubicBezTo>
                      <a:pt x="65423" y="12822"/>
                      <a:pt x="77994" y="22249"/>
                      <a:pt x="90564" y="31963"/>
                    </a:cubicBezTo>
                    <a:cubicBezTo>
                      <a:pt x="75422" y="31963"/>
                      <a:pt x="60281" y="33106"/>
                      <a:pt x="45425" y="33391"/>
                    </a:cubicBezTo>
                    <a:cubicBezTo>
                      <a:pt x="30283" y="33963"/>
                      <a:pt x="15142" y="35106"/>
                      <a:pt x="0" y="36248"/>
                    </a:cubicBezTo>
                    <a:close/>
                  </a:path>
                </a:pathLst>
              </a:custGeom>
              <a:solidFill>
                <a:srgbClr val="73D927"/>
              </a:solidFill>
              <a:ln w="2850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49" name="Freeform: Shape 348">
                <a:extLst>
                  <a:ext uri="{FF2B5EF4-FFF2-40B4-BE49-F238E27FC236}">
                    <a16:creationId xmlns:a16="http://schemas.microsoft.com/office/drawing/2014/main" id="{1AE89D45-FBD1-4AB7-8EF5-4A7530EE4A10}"/>
                  </a:ext>
                </a:extLst>
              </p:cNvPr>
              <p:cNvSpPr/>
              <p:nvPr/>
            </p:nvSpPr>
            <p:spPr>
              <a:xfrm>
                <a:off x="8628149" y="3076810"/>
                <a:ext cx="90564" cy="29925"/>
              </a:xfrm>
              <a:custGeom>
                <a:avLst/>
                <a:gdLst>
                  <a:gd name="connsiteX0" fmla="*/ 0 w 90564"/>
                  <a:gd name="connsiteY0" fmla="*/ 29354 h 29925"/>
                  <a:gd name="connsiteX1" fmla="*/ 38283 w 90564"/>
                  <a:gd name="connsiteY1" fmla="*/ 1642 h 29925"/>
                  <a:gd name="connsiteX2" fmla="*/ 53996 w 90564"/>
                  <a:gd name="connsiteY2" fmla="*/ 2499 h 29925"/>
                  <a:gd name="connsiteX3" fmla="*/ 90564 w 90564"/>
                  <a:gd name="connsiteY3" fmla="*/ 29925 h 29925"/>
                  <a:gd name="connsiteX4" fmla="*/ 45139 w 90564"/>
                  <a:gd name="connsiteY4" fmla="*/ 28783 h 29925"/>
                  <a:gd name="connsiteX5" fmla="*/ 0 w 90564"/>
                  <a:gd name="connsiteY5" fmla="*/ 29354 h 299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90564" h="29925">
                    <a:moveTo>
                      <a:pt x="0" y="29354"/>
                    </a:moveTo>
                    <a:cubicBezTo>
                      <a:pt x="12570" y="19641"/>
                      <a:pt x="25141" y="10213"/>
                      <a:pt x="38283" y="1642"/>
                    </a:cubicBezTo>
                    <a:cubicBezTo>
                      <a:pt x="41997" y="-929"/>
                      <a:pt x="50567" y="-358"/>
                      <a:pt x="53996" y="2499"/>
                    </a:cubicBezTo>
                    <a:cubicBezTo>
                      <a:pt x="66280" y="12213"/>
                      <a:pt x="78565" y="21355"/>
                      <a:pt x="90564" y="29925"/>
                    </a:cubicBezTo>
                    <a:lnTo>
                      <a:pt x="45139" y="28783"/>
                    </a:lnTo>
                    <a:cubicBezTo>
                      <a:pt x="29998" y="28783"/>
                      <a:pt x="15142" y="29068"/>
                      <a:pt x="0" y="29354"/>
                    </a:cubicBezTo>
                    <a:close/>
                  </a:path>
                </a:pathLst>
              </a:custGeom>
              <a:solidFill>
                <a:srgbClr val="73D927"/>
              </a:solidFill>
              <a:ln w="2850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50" name="Freeform: Shape 349">
                <a:extLst>
                  <a:ext uri="{FF2B5EF4-FFF2-40B4-BE49-F238E27FC236}">
                    <a16:creationId xmlns:a16="http://schemas.microsoft.com/office/drawing/2014/main" id="{8E6F445E-B61A-4DE0-B76C-EB96A1D50657}"/>
                  </a:ext>
                </a:extLst>
              </p:cNvPr>
              <p:cNvSpPr/>
              <p:nvPr/>
            </p:nvSpPr>
            <p:spPr>
              <a:xfrm>
                <a:off x="8718713" y="3083918"/>
                <a:ext cx="90564" cy="27674"/>
              </a:xfrm>
              <a:custGeom>
                <a:avLst/>
                <a:gdLst>
                  <a:gd name="connsiteX0" fmla="*/ 0 w 90564"/>
                  <a:gd name="connsiteY0" fmla="*/ 22532 h 27674"/>
                  <a:gd name="connsiteX1" fmla="*/ 39140 w 90564"/>
                  <a:gd name="connsiteY1" fmla="*/ 1105 h 27674"/>
                  <a:gd name="connsiteX2" fmla="*/ 54853 w 90564"/>
                  <a:gd name="connsiteY2" fmla="*/ 2533 h 27674"/>
                  <a:gd name="connsiteX3" fmla="*/ 90564 w 90564"/>
                  <a:gd name="connsiteY3" fmla="*/ 27674 h 27674"/>
                  <a:gd name="connsiteX4" fmla="*/ 45139 w 90564"/>
                  <a:gd name="connsiteY4" fmla="*/ 24532 h 27674"/>
                  <a:gd name="connsiteX5" fmla="*/ 0 w 90564"/>
                  <a:gd name="connsiteY5" fmla="*/ 22532 h 276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90564" h="27674">
                    <a:moveTo>
                      <a:pt x="0" y="22532"/>
                    </a:moveTo>
                    <a:cubicBezTo>
                      <a:pt x="12856" y="14532"/>
                      <a:pt x="25998" y="7676"/>
                      <a:pt x="39140" y="1105"/>
                    </a:cubicBezTo>
                    <a:cubicBezTo>
                      <a:pt x="43139" y="-895"/>
                      <a:pt x="51424" y="-38"/>
                      <a:pt x="54853" y="2533"/>
                    </a:cubicBezTo>
                    <a:cubicBezTo>
                      <a:pt x="66852" y="11390"/>
                      <a:pt x="78565" y="19961"/>
                      <a:pt x="90564" y="27674"/>
                    </a:cubicBezTo>
                    <a:cubicBezTo>
                      <a:pt x="75422" y="26531"/>
                      <a:pt x="60281" y="25103"/>
                      <a:pt x="45139" y="24532"/>
                    </a:cubicBezTo>
                    <a:lnTo>
                      <a:pt x="0" y="22532"/>
                    </a:lnTo>
                    <a:close/>
                  </a:path>
                </a:pathLst>
              </a:custGeom>
              <a:solidFill>
                <a:srgbClr val="73D927"/>
              </a:solidFill>
              <a:ln w="2850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51" name="Freeform: Shape 350">
                <a:extLst>
                  <a:ext uri="{FF2B5EF4-FFF2-40B4-BE49-F238E27FC236}">
                    <a16:creationId xmlns:a16="http://schemas.microsoft.com/office/drawing/2014/main" id="{2E37397B-90C0-44F6-9C1F-F98076E24960}"/>
                  </a:ext>
                </a:extLst>
              </p:cNvPr>
              <p:cNvSpPr/>
              <p:nvPr/>
            </p:nvSpPr>
            <p:spPr>
              <a:xfrm>
                <a:off x="8809277" y="3095307"/>
                <a:ext cx="90564" cy="25141"/>
              </a:xfrm>
              <a:custGeom>
                <a:avLst/>
                <a:gdLst>
                  <a:gd name="connsiteX0" fmla="*/ 0 w 90564"/>
                  <a:gd name="connsiteY0" fmla="*/ 16285 h 25141"/>
                  <a:gd name="connsiteX1" fmla="*/ 39711 w 90564"/>
                  <a:gd name="connsiteY1" fmla="*/ 572 h 25141"/>
                  <a:gd name="connsiteX2" fmla="*/ 55424 w 90564"/>
                  <a:gd name="connsiteY2" fmla="*/ 2857 h 25141"/>
                  <a:gd name="connsiteX3" fmla="*/ 90564 w 90564"/>
                  <a:gd name="connsiteY3" fmla="*/ 25141 h 25141"/>
                  <a:gd name="connsiteX4" fmla="*/ 45425 w 90564"/>
                  <a:gd name="connsiteY4" fmla="*/ 20285 h 25141"/>
                  <a:gd name="connsiteX5" fmla="*/ 0 w 90564"/>
                  <a:gd name="connsiteY5" fmla="*/ 16285 h 251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90564" h="25141">
                    <a:moveTo>
                      <a:pt x="0" y="16285"/>
                    </a:moveTo>
                    <a:cubicBezTo>
                      <a:pt x="13142" y="10285"/>
                      <a:pt x="26569" y="4857"/>
                      <a:pt x="39711" y="572"/>
                    </a:cubicBezTo>
                    <a:cubicBezTo>
                      <a:pt x="43711" y="-857"/>
                      <a:pt x="51996" y="572"/>
                      <a:pt x="55424" y="2857"/>
                    </a:cubicBezTo>
                    <a:cubicBezTo>
                      <a:pt x="67137" y="10857"/>
                      <a:pt x="78851" y="17999"/>
                      <a:pt x="90564" y="25141"/>
                    </a:cubicBezTo>
                    <a:cubicBezTo>
                      <a:pt x="75422" y="23142"/>
                      <a:pt x="60281" y="21999"/>
                      <a:pt x="45425" y="20285"/>
                    </a:cubicBezTo>
                    <a:cubicBezTo>
                      <a:pt x="30283" y="18570"/>
                      <a:pt x="15142" y="17142"/>
                      <a:pt x="0" y="16285"/>
                    </a:cubicBezTo>
                    <a:close/>
                  </a:path>
                </a:pathLst>
              </a:custGeom>
              <a:solidFill>
                <a:srgbClr val="73D927"/>
              </a:solidFill>
              <a:ln w="2850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312" name="Freeform: Shape 1311">
                <a:extLst>
                  <a:ext uri="{FF2B5EF4-FFF2-40B4-BE49-F238E27FC236}">
                    <a16:creationId xmlns:a16="http://schemas.microsoft.com/office/drawing/2014/main" id="{5118083F-E29B-4950-8B68-9C02186D2959}"/>
                  </a:ext>
                </a:extLst>
              </p:cNvPr>
              <p:cNvSpPr/>
              <p:nvPr/>
            </p:nvSpPr>
            <p:spPr>
              <a:xfrm>
                <a:off x="8899841" y="3110484"/>
                <a:ext cx="89992" cy="23106"/>
              </a:xfrm>
              <a:custGeom>
                <a:avLst/>
                <a:gdLst>
                  <a:gd name="connsiteX0" fmla="*/ 0 w 89992"/>
                  <a:gd name="connsiteY0" fmla="*/ 9965 h 23106"/>
                  <a:gd name="connsiteX1" fmla="*/ 39711 w 89992"/>
                  <a:gd name="connsiteY1" fmla="*/ 251 h 23106"/>
                  <a:gd name="connsiteX2" fmla="*/ 55138 w 89992"/>
                  <a:gd name="connsiteY2" fmla="*/ 3108 h 23106"/>
                  <a:gd name="connsiteX3" fmla="*/ 89993 w 89992"/>
                  <a:gd name="connsiteY3" fmla="*/ 23107 h 23106"/>
                  <a:gd name="connsiteX4" fmla="*/ 45139 w 89992"/>
                  <a:gd name="connsiteY4" fmla="*/ 15964 h 23106"/>
                  <a:gd name="connsiteX5" fmla="*/ 0 w 89992"/>
                  <a:gd name="connsiteY5" fmla="*/ 9965 h 231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89992" h="23106">
                    <a:moveTo>
                      <a:pt x="0" y="9965"/>
                    </a:moveTo>
                    <a:cubicBezTo>
                      <a:pt x="13142" y="6251"/>
                      <a:pt x="26569" y="2823"/>
                      <a:pt x="39711" y="251"/>
                    </a:cubicBezTo>
                    <a:cubicBezTo>
                      <a:pt x="43711" y="-606"/>
                      <a:pt x="51996" y="823"/>
                      <a:pt x="55138" y="3108"/>
                    </a:cubicBezTo>
                    <a:cubicBezTo>
                      <a:pt x="66566" y="10251"/>
                      <a:pt x="78279" y="17107"/>
                      <a:pt x="89993" y="23107"/>
                    </a:cubicBezTo>
                    <a:cubicBezTo>
                      <a:pt x="75137" y="20821"/>
                      <a:pt x="60281" y="17964"/>
                      <a:pt x="45139" y="15964"/>
                    </a:cubicBezTo>
                    <a:lnTo>
                      <a:pt x="0" y="9965"/>
                    </a:lnTo>
                    <a:close/>
                  </a:path>
                </a:pathLst>
              </a:custGeom>
              <a:solidFill>
                <a:srgbClr val="73D927"/>
              </a:solidFill>
              <a:ln w="2850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313" name="Freeform: Shape 1312">
                <a:extLst>
                  <a:ext uri="{FF2B5EF4-FFF2-40B4-BE49-F238E27FC236}">
                    <a16:creationId xmlns:a16="http://schemas.microsoft.com/office/drawing/2014/main" id="{74B9B805-6B23-4F26-AA06-02F6C8A5F62B}"/>
                  </a:ext>
                </a:extLst>
              </p:cNvPr>
              <p:cNvSpPr/>
              <p:nvPr/>
            </p:nvSpPr>
            <p:spPr>
              <a:xfrm>
                <a:off x="8989834" y="3129566"/>
                <a:ext cx="89706" cy="21165"/>
              </a:xfrm>
              <a:custGeom>
                <a:avLst/>
                <a:gdLst>
                  <a:gd name="connsiteX0" fmla="*/ 0 w 89706"/>
                  <a:gd name="connsiteY0" fmla="*/ 4024 h 21165"/>
                  <a:gd name="connsiteX1" fmla="*/ 39425 w 89706"/>
                  <a:gd name="connsiteY1" fmla="*/ 24 h 21165"/>
                  <a:gd name="connsiteX2" fmla="*/ 54853 w 89706"/>
                  <a:gd name="connsiteY2" fmla="*/ 3738 h 21165"/>
                  <a:gd name="connsiteX3" fmla="*/ 89707 w 89706"/>
                  <a:gd name="connsiteY3" fmla="*/ 21166 h 21165"/>
                  <a:gd name="connsiteX4" fmla="*/ 45139 w 89706"/>
                  <a:gd name="connsiteY4" fmla="*/ 12023 h 21165"/>
                  <a:gd name="connsiteX5" fmla="*/ 0 w 89706"/>
                  <a:gd name="connsiteY5" fmla="*/ 4024 h 211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89706" h="21165">
                    <a:moveTo>
                      <a:pt x="0" y="4024"/>
                    </a:moveTo>
                    <a:cubicBezTo>
                      <a:pt x="13142" y="1739"/>
                      <a:pt x="26284" y="596"/>
                      <a:pt x="39425" y="24"/>
                    </a:cubicBezTo>
                    <a:cubicBezTo>
                      <a:pt x="43139" y="-261"/>
                      <a:pt x="51424" y="2024"/>
                      <a:pt x="54853" y="3738"/>
                    </a:cubicBezTo>
                    <a:cubicBezTo>
                      <a:pt x="66280" y="10024"/>
                      <a:pt x="77994" y="15452"/>
                      <a:pt x="89707" y="21166"/>
                    </a:cubicBezTo>
                    <a:cubicBezTo>
                      <a:pt x="74851" y="17737"/>
                      <a:pt x="59995" y="15166"/>
                      <a:pt x="45139" y="12023"/>
                    </a:cubicBezTo>
                    <a:cubicBezTo>
                      <a:pt x="29997" y="9166"/>
                      <a:pt x="15142" y="6310"/>
                      <a:pt x="0" y="4024"/>
                    </a:cubicBezTo>
                    <a:close/>
                  </a:path>
                </a:pathLst>
              </a:custGeom>
              <a:solidFill>
                <a:srgbClr val="73D927"/>
              </a:solidFill>
              <a:ln w="2850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314" name="Freeform: Shape 1313">
                <a:extLst>
                  <a:ext uri="{FF2B5EF4-FFF2-40B4-BE49-F238E27FC236}">
                    <a16:creationId xmlns:a16="http://schemas.microsoft.com/office/drawing/2014/main" id="{CCB5B619-DF4D-4476-8208-95DFABB2B103}"/>
                  </a:ext>
                </a:extLst>
              </p:cNvPr>
              <p:cNvSpPr/>
              <p:nvPr/>
            </p:nvSpPr>
            <p:spPr>
              <a:xfrm>
                <a:off x="9079541" y="3150732"/>
                <a:ext cx="88564" cy="21712"/>
              </a:xfrm>
              <a:custGeom>
                <a:avLst/>
                <a:gdLst>
                  <a:gd name="connsiteX0" fmla="*/ 0 w 88564"/>
                  <a:gd name="connsiteY0" fmla="*/ 0 h 21712"/>
                  <a:gd name="connsiteX1" fmla="*/ 38568 w 88564"/>
                  <a:gd name="connsiteY1" fmla="*/ 2000 h 21712"/>
                  <a:gd name="connsiteX2" fmla="*/ 53710 w 88564"/>
                  <a:gd name="connsiteY2" fmla="*/ 6285 h 21712"/>
                  <a:gd name="connsiteX3" fmla="*/ 88564 w 88564"/>
                  <a:gd name="connsiteY3" fmla="*/ 21713 h 21712"/>
                  <a:gd name="connsiteX4" fmla="*/ 44282 w 88564"/>
                  <a:gd name="connsiteY4" fmla="*/ 10285 h 21712"/>
                  <a:gd name="connsiteX5" fmla="*/ 0 w 88564"/>
                  <a:gd name="connsiteY5" fmla="*/ 0 h 217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88564" h="21712">
                    <a:moveTo>
                      <a:pt x="0" y="0"/>
                    </a:moveTo>
                    <a:cubicBezTo>
                      <a:pt x="12856" y="0"/>
                      <a:pt x="25712" y="857"/>
                      <a:pt x="38568" y="2000"/>
                    </a:cubicBezTo>
                    <a:cubicBezTo>
                      <a:pt x="42282" y="2286"/>
                      <a:pt x="50281" y="4571"/>
                      <a:pt x="53710" y="6285"/>
                    </a:cubicBezTo>
                    <a:cubicBezTo>
                      <a:pt x="65138" y="11999"/>
                      <a:pt x="76851" y="17141"/>
                      <a:pt x="88564" y="21713"/>
                    </a:cubicBezTo>
                    <a:cubicBezTo>
                      <a:pt x="73708" y="17999"/>
                      <a:pt x="59138" y="13713"/>
                      <a:pt x="44282" y="10285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73D927"/>
              </a:solidFill>
              <a:ln w="2850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315" name="Freeform: Shape 1314">
                <a:extLst>
                  <a:ext uri="{FF2B5EF4-FFF2-40B4-BE49-F238E27FC236}">
                    <a16:creationId xmlns:a16="http://schemas.microsoft.com/office/drawing/2014/main" id="{DD957659-7640-4C0B-9235-D5EE80AFCE81}"/>
                  </a:ext>
                </a:extLst>
              </p:cNvPr>
              <p:cNvSpPr/>
              <p:nvPr/>
            </p:nvSpPr>
            <p:spPr>
              <a:xfrm>
                <a:off x="9168105" y="3172444"/>
                <a:ext cx="87707" cy="25426"/>
              </a:xfrm>
              <a:custGeom>
                <a:avLst/>
                <a:gdLst>
                  <a:gd name="connsiteX0" fmla="*/ 0 w 87707"/>
                  <a:gd name="connsiteY0" fmla="*/ 0 h 25426"/>
                  <a:gd name="connsiteX1" fmla="*/ 37140 w 87707"/>
                  <a:gd name="connsiteY1" fmla="*/ 7714 h 25426"/>
                  <a:gd name="connsiteX2" fmla="*/ 51996 w 87707"/>
                  <a:gd name="connsiteY2" fmla="*/ 12856 h 25426"/>
                  <a:gd name="connsiteX3" fmla="*/ 87707 w 87707"/>
                  <a:gd name="connsiteY3" fmla="*/ 25427 h 25426"/>
                  <a:gd name="connsiteX4" fmla="*/ 43996 w 87707"/>
                  <a:gd name="connsiteY4" fmla="*/ 12285 h 25426"/>
                  <a:gd name="connsiteX5" fmla="*/ 0 w 87707"/>
                  <a:gd name="connsiteY5" fmla="*/ 0 h 254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87707" h="25426">
                    <a:moveTo>
                      <a:pt x="0" y="0"/>
                    </a:moveTo>
                    <a:cubicBezTo>
                      <a:pt x="12570" y="2000"/>
                      <a:pt x="25141" y="4000"/>
                      <a:pt x="37140" y="7714"/>
                    </a:cubicBezTo>
                    <a:cubicBezTo>
                      <a:pt x="40568" y="8571"/>
                      <a:pt x="48567" y="11428"/>
                      <a:pt x="51996" y="12856"/>
                    </a:cubicBezTo>
                    <a:cubicBezTo>
                      <a:pt x="63709" y="17713"/>
                      <a:pt x="75708" y="21713"/>
                      <a:pt x="87707" y="25427"/>
                    </a:cubicBezTo>
                    <a:lnTo>
                      <a:pt x="43996" y="12285"/>
                    </a:lnTo>
                    <a:cubicBezTo>
                      <a:pt x="29426" y="7714"/>
                      <a:pt x="14856" y="3714"/>
                      <a:pt x="0" y="0"/>
                    </a:cubicBezTo>
                    <a:close/>
                  </a:path>
                </a:pathLst>
              </a:custGeom>
              <a:solidFill>
                <a:srgbClr val="73D927"/>
              </a:solidFill>
              <a:ln w="2850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sp>
          <p:nvSpPr>
            <p:cNvPr id="1316" name="Freeform: Shape 1315">
              <a:extLst>
                <a:ext uri="{FF2B5EF4-FFF2-40B4-BE49-F238E27FC236}">
                  <a16:creationId xmlns:a16="http://schemas.microsoft.com/office/drawing/2014/main" id="{F37D03ED-2340-4086-A515-F0BE9A634127}"/>
                </a:ext>
              </a:extLst>
            </p:cNvPr>
            <p:cNvSpPr/>
            <p:nvPr/>
          </p:nvSpPr>
          <p:spPr>
            <a:xfrm>
              <a:off x="9367803" y="3325575"/>
              <a:ext cx="1194236" cy="2567036"/>
            </a:xfrm>
            <a:custGeom>
              <a:avLst/>
              <a:gdLst>
                <a:gd name="connsiteX0" fmla="*/ 1189046 w 1194236"/>
                <a:gd name="connsiteY0" fmla="*/ 1975840 h 2567036"/>
                <a:gd name="connsiteX1" fmla="*/ 1021917 w 1194236"/>
                <a:gd name="connsiteY1" fmla="*/ 1020774 h 2567036"/>
                <a:gd name="connsiteX2" fmla="*/ 390540 w 1194236"/>
                <a:gd name="connsiteY2" fmla="*/ 119419 h 2567036"/>
                <a:gd name="connsiteX3" fmla="*/ 208555 w 1194236"/>
                <a:gd name="connsiteY3" fmla="*/ 0 h 2567036"/>
                <a:gd name="connsiteX4" fmla="*/ 764795 w 1194236"/>
                <a:gd name="connsiteY4" fmla="*/ 611379 h 2567036"/>
                <a:gd name="connsiteX5" fmla="*/ 1117910 w 1194236"/>
                <a:gd name="connsiteY5" fmla="*/ 1930415 h 2567036"/>
                <a:gd name="connsiteX6" fmla="*/ 884214 w 1194236"/>
                <a:gd name="connsiteY6" fmla="*/ 2355523 h 2567036"/>
                <a:gd name="connsiteX7" fmla="*/ 405967 w 1194236"/>
                <a:gd name="connsiteY7" fmla="*/ 2484941 h 2567036"/>
                <a:gd name="connsiteX8" fmla="*/ 0 w 1194236"/>
                <a:gd name="connsiteY8" fmla="*/ 2232391 h 2567036"/>
                <a:gd name="connsiteX9" fmla="*/ 432822 w 1194236"/>
                <a:gd name="connsiteY9" fmla="*/ 2560364 h 2567036"/>
                <a:gd name="connsiteX10" fmla="*/ 1189046 w 1194236"/>
                <a:gd name="connsiteY10" fmla="*/ 1975840 h 25670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194236" h="2567036">
                  <a:moveTo>
                    <a:pt x="1189046" y="1975840"/>
                  </a:moveTo>
                  <a:cubicBezTo>
                    <a:pt x="1229329" y="1615012"/>
                    <a:pt x="1021917" y="1020774"/>
                    <a:pt x="1021917" y="1020774"/>
                  </a:cubicBezTo>
                  <a:cubicBezTo>
                    <a:pt x="1021917" y="1020774"/>
                    <a:pt x="845931" y="469390"/>
                    <a:pt x="390540" y="119419"/>
                  </a:cubicBezTo>
                  <a:cubicBezTo>
                    <a:pt x="331973" y="74565"/>
                    <a:pt x="271121" y="34854"/>
                    <a:pt x="208555" y="0"/>
                  </a:cubicBezTo>
                  <a:cubicBezTo>
                    <a:pt x="402824" y="156559"/>
                    <a:pt x="598237" y="356543"/>
                    <a:pt x="764795" y="611379"/>
                  </a:cubicBezTo>
                  <a:cubicBezTo>
                    <a:pt x="868787" y="770509"/>
                    <a:pt x="1246185" y="1347891"/>
                    <a:pt x="1117910" y="1930415"/>
                  </a:cubicBezTo>
                  <a:cubicBezTo>
                    <a:pt x="1094769" y="2034978"/>
                    <a:pt x="1051058" y="2221820"/>
                    <a:pt x="884214" y="2355523"/>
                  </a:cubicBezTo>
                  <a:cubicBezTo>
                    <a:pt x="868215" y="2368379"/>
                    <a:pt x="661946" y="2528652"/>
                    <a:pt x="405967" y="2484941"/>
                  </a:cubicBezTo>
                  <a:cubicBezTo>
                    <a:pt x="184556" y="2447230"/>
                    <a:pt x="117991" y="2377807"/>
                    <a:pt x="0" y="2232391"/>
                  </a:cubicBezTo>
                  <a:cubicBezTo>
                    <a:pt x="61138" y="2386664"/>
                    <a:pt x="236838" y="2525224"/>
                    <a:pt x="432822" y="2560364"/>
                  </a:cubicBezTo>
                  <a:cubicBezTo>
                    <a:pt x="730512" y="2614074"/>
                    <a:pt x="1148764" y="2336668"/>
                    <a:pt x="1189046" y="1975840"/>
                  </a:cubicBezTo>
                  <a:close/>
                </a:path>
              </a:pathLst>
            </a:custGeom>
            <a:solidFill>
              <a:srgbClr val="73D927"/>
            </a:solidFill>
            <a:ln w="2850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17" name="Freeform: Shape 1316">
              <a:extLst>
                <a:ext uri="{FF2B5EF4-FFF2-40B4-BE49-F238E27FC236}">
                  <a16:creationId xmlns:a16="http://schemas.microsoft.com/office/drawing/2014/main" id="{7149A7CB-D984-4478-9833-A1318EB71E4E}"/>
                </a:ext>
              </a:extLst>
            </p:cNvPr>
            <p:cNvSpPr/>
            <p:nvPr/>
          </p:nvSpPr>
          <p:spPr>
            <a:xfrm>
              <a:off x="7016068" y="3564852"/>
              <a:ext cx="416071" cy="383670"/>
            </a:xfrm>
            <a:custGeom>
              <a:avLst/>
              <a:gdLst>
                <a:gd name="connsiteX0" fmla="*/ 412464 w 416071"/>
                <a:gd name="connsiteY0" fmla="*/ 136692 h 383670"/>
                <a:gd name="connsiteX1" fmla="*/ 377610 w 416071"/>
                <a:gd name="connsiteY1" fmla="*/ 62412 h 383670"/>
                <a:gd name="connsiteX2" fmla="*/ 310758 w 416071"/>
                <a:gd name="connsiteY2" fmla="*/ 14988 h 383670"/>
                <a:gd name="connsiteX3" fmla="*/ 233050 w 416071"/>
                <a:gd name="connsiteY3" fmla="*/ 417 h 383670"/>
                <a:gd name="connsiteX4" fmla="*/ 155914 w 416071"/>
                <a:gd name="connsiteY4" fmla="*/ 2989 h 383670"/>
                <a:gd name="connsiteX5" fmla="*/ 84205 w 416071"/>
                <a:gd name="connsiteY5" fmla="*/ 29272 h 383670"/>
                <a:gd name="connsiteX6" fmla="*/ 3355 w 416071"/>
                <a:gd name="connsiteY6" fmla="*/ 157262 h 383670"/>
                <a:gd name="connsiteX7" fmla="*/ 41637 w 416071"/>
                <a:gd name="connsiteY7" fmla="*/ 308107 h 383670"/>
                <a:gd name="connsiteX8" fmla="*/ 177055 w 416071"/>
                <a:gd name="connsiteY8" fmla="*/ 381815 h 383670"/>
                <a:gd name="connsiteX9" fmla="*/ 325900 w 416071"/>
                <a:gd name="connsiteY9" fmla="*/ 347246 h 383670"/>
                <a:gd name="connsiteX10" fmla="*/ 412179 w 416071"/>
                <a:gd name="connsiteY10" fmla="*/ 217257 h 383670"/>
                <a:gd name="connsiteX11" fmla="*/ 412464 w 416071"/>
                <a:gd name="connsiteY11" fmla="*/ 136692 h 383670"/>
                <a:gd name="connsiteX12" fmla="*/ 20210 w 416071"/>
                <a:gd name="connsiteY12" fmla="*/ 159262 h 383670"/>
                <a:gd name="connsiteX13" fmla="*/ 44208 w 416071"/>
                <a:gd name="connsiteY13" fmla="*/ 92124 h 383670"/>
                <a:gd name="connsiteX14" fmla="*/ 64493 w 416071"/>
                <a:gd name="connsiteY14" fmla="*/ 60698 h 383670"/>
                <a:gd name="connsiteX15" fmla="*/ 92490 w 416071"/>
                <a:gd name="connsiteY15" fmla="*/ 35843 h 383670"/>
                <a:gd name="connsiteX16" fmla="*/ 168770 w 416071"/>
                <a:gd name="connsiteY16" fmla="*/ 13559 h 383670"/>
                <a:gd name="connsiteX17" fmla="*/ 231050 w 416071"/>
                <a:gd name="connsiteY17" fmla="*/ 18416 h 383670"/>
                <a:gd name="connsiteX18" fmla="*/ 355040 w 416071"/>
                <a:gd name="connsiteY18" fmla="*/ 80982 h 383670"/>
                <a:gd name="connsiteX19" fmla="*/ 383038 w 416071"/>
                <a:gd name="connsiteY19" fmla="*/ 137263 h 383670"/>
                <a:gd name="connsiteX20" fmla="*/ 230765 w 416071"/>
                <a:gd name="connsiteY20" fmla="*/ 327248 h 383670"/>
                <a:gd name="connsiteX21" fmla="*/ 44494 w 416071"/>
                <a:gd name="connsiteY21" fmla="*/ 269824 h 383670"/>
                <a:gd name="connsiteX22" fmla="*/ 20210 w 416071"/>
                <a:gd name="connsiteY22" fmla="*/ 159262 h 3836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416071" h="383670">
                  <a:moveTo>
                    <a:pt x="412464" y="136692"/>
                  </a:moveTo>
                  <a:cubicBezTo>
                    <a:pt x="406751" y="110123"/>
                    <a:pt x="395609" y="83839"/>
                    <a:pt x="377610" y="62412"/>
                  </a:cubicBezTo>
                  <a:cubicBezTo>
                    <a:pt x="359611" y="40985"/>
                    <a:pt x="336185" y="24701"/>
                    <a:pt x="310758" y="14988"/>
                  </a:cubicBezTo>
                  <a:cubicBezTo>
                    <a:pt x="285617" y="4703"/>
                    <a:pt x="258763" y="1274"/>
                    <a:pt x="233050" y="417"/>
                  </a:cubicBezTo>
                  <a:cubicBezTo>
                    <a:pt x="207338" y="-154"/>
                    <a:pt x="181626" y="-725"/>
                    <a:pt x="155914" y="2989"/>
                  </a:cubicBezTo>
                  <a:cubicBezTo>
                    <a:pt x="130487" y="6702"/>
                    <a:pt x="105346" y="14988"/>
                    <a:pt x="84205" y="29272"/>
                  </a:cubicBezTo>
                  <a:cubicBezTo>
                    <a:pt x="41637" y="57841"/>
                    <a:pt x="12782" y="105552"/>
                    <a:pt x="3355" y="157262"/>
                  </a:cubicBezTo>
                  <a:cubicBezTo>
                    <a:pt x="-7216" y="209257"/>
                    <a:pt x="7640" y="266967"/>
                    <a:pt x="41637" y="308107"/>
                  </a:cubicBezTo>
                  <a:cubicBezTo>
                    <a:pt x="75349" y="349818"/>
                    <a:pt x="125916" y="375815"/>
                    <a:pt x="177055" y="381815"/>
                  </a:cubicBezTo>
                  <a:cubicBezTo>
                    <a:pt x="228479" y="388672"/>
                    <a:pt x="281903" y="376387"/>
                    <a:pt x="325900" y="347246"/>
                  </a:cubicBezTo>
                  <a:cubicBezTo>
                    <a:pt x="370468" y="318677"/>
                    <a:pt x="401894" y="270110"/>
                    <a:pt x="412179" y="217257"/>
                  </a:cubicBezTo>
                  <a:cubicBezTo>
                    <a:pt x="417321" y="190973"/>
                    <a:pt x="417321" y="163547"/>
                    <a:pt x="412464" y="136692"/>
                  </a:cubicBezTo>
                  <a:close/>
                  <a:moveTo>
                    <a:pt x="20210" y="159262"/>
                  </a:moveTo>
                  <a:cubicBezTo>
                    <a:pt x="21353" y="134978"/>
                    <a:pt x="33638" y="114694"/>
                    <a:pt x="44208" y="92124"/>
                  </a:cubicBezTo>
                  <a:cubicBezTo>
                    <a:pt x="49351" y="80696"/>
                    <a:pt x="56493" y="70412"/>
                    <a:pt x="64493" y="60698"/>
                  </a:cubicBezTo>
                  <a:cubicBezTo>
                    <a:pt x="72778" y="51270"/>
                    <a:pt x="82205" y="42985"/>
                    <a:pt x="92490" y="35843"/>
                  </a:cubicBezTo>
                  <a:cubicBezTo>
                    <a:pt x="113631" y="22130"/>
                    <a:pt x="143915" y="13845"/>
                    <a:pt x="168770" y="13559"/>
                  </a:cubicBezTo>
                  <a:cubicBezTo>
                    <a:pt x="193625" y="12702"/>
                    <a:pt x="206481" y="14416"/>
                    <a:pt x="231050" y="18416"/>
                  </a:cubicBezTo>
                  <a:cubicBezTo>
                    <a:pt x="279618" y="27272"/>
                    <a:pt x="326471" y="44414"/>
                    <a:pt x="355040" y="80982"/>
                  </a:cubicBezTo>
                  <a:cubicBezTo>
                    <a:pt x="368468" y="97267"/>
                    <a:pt x="377610" y="116694"/>
                    <a:pt x="383038" y="137263"/>
                  </a:cubicBezTo>
                  <a:cubicBezTo>
                    <a:pt x="387038" y="212971"/>
                    <a:pt x="315329" y="310392"/>
                    <a:pt x="230765" y="327248"/>
                  </a:cubicBezTo>
                  <a:cubicBezTo>
                    <a:pt x="159628" y="341532"/>
                    <a:pt x="113917" y="345818"/>
                    <a:pt x="44494" y="269824"/>
                  </a:cubicBezTo>
                  <a:cubicBezTo>
                    <a:pt x="27067" y="236112"/>
                    <a:pt x="18496" y="198116"/>
                    <a:pt x="20210" y="159262"/>
                  </a:cubicBezTo>
                  <a:close/>
                </a:path>
              </a:pathLst>
            </a:custGeom>
            <a:solidFill>
              <a:srgbClr val="308218"/>
            </a:solidFill>
            <a:ln w="2850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18" name="Freeform: Shape 1317">
              <a:extLst>
                <a:ext uri="{FF2B5EF4-FFF2-40B4-BE49-F238E27FC236}">
                  <a16:creationId xmlns:a16="http://schemas.microsoft.com/office/drawing/2014/main" id="{7E0CB8A1-E91D-4E1E-A18B-F72778CB89D5}"/>
                </a:ext>
              </a:extLst>
            </p:cNvPr>
            <p:cNvSpPr/>
            <p:nvPr/>
          </p:nvSpPr>
          <p:spPr>
            <a:xfrm>
              <a:off x="6802297" y="3534411"/>
              <a:ext cx="3500972" cy="1799858"/>
            </a:xfrm>
            <a:custGeom>
              <a:avLst/>
              <a:gdLst>
                <a:gd name="connsiteX0" fmla="*/ 3478004 w 3500972"/>
                <a:gd name="connsiteY0" fmla="*/ 1358465 h 1799858"/>
                <a:gd name="connsiteX1" fmla="*/ 3368299 w 3500972"/>
                <a:gd name="connsiteY1" fmla="*/ 1012493 h 1799858"/>
                <a:gd name="connsiteX2" fmla="*/ 3366870 w 3500972"/>
                <a:gd name="connsiteY2" fmla="*/ 790797 h 1799858"/>
                <a:gd name="connsiteX3" fmla="*/ 3281448 w 3500972"/>
                <a:gd name="connsiteY3" fmla="*/ 657665 h 1799858"/>
                <a:gd name="connsiteX4" fmla="*/ 3134889 w 3500972"/>
                <a:gd name="connsiteY4" fmla="*/ 294837 h 1799858"/>
                <a:gd name="connsiteX5" fmla="*/ 3101463 w 3500972"/>
                <a:gd name="connsiteY5" fmla="*/ 187132 h 1799858"/>
                <a:gd name="connsiteX6" fmla="*/ 3087464 w 3500972"/>
                <a:gd name="connsiteY6" fmla="*/ 270839 h 1799858"/>
                <a:gd name="connsiteX7" fmla="*/ 3098035 w 3500972"/>
                <a:gd name="connsiteY7" fmla="*/ 591385 h 1799858"/>
                <a:gd name="connsiteX8" fmla="*/ 3132032 w 3500972"/>
                <a:gd name="connsiteY8" fmla="*/ 715660 h 1799858"/>
                <a:gd name="connsiteX9" fmla="*/ 3029183 w 3500972"/>
                <a:gd name="connsiteY9" fmla="*/ 618525 h 1799858"/>
                <a:gd name="connsiteX10" fmla="*/ 2888338 w 3500972"/>
                <a:gd name="connsiteY10" fmla="*/ 115709 h 1799858"/>
                <a:gd name="connsiteX11" fmla="*/ 2842627 w 3500972"/>
                <a:gd name="connsiteY11" fmla="*/ 181989 h 1799858"/>
                <a:gd name="connsiteX12" fmla="*/ 2772347 w 3500972"/>
                <a:gd name="connsiteY12" fmla="*/ 441111 h 1799858"/>
                <a:gd name="connsiteX13" fmla="*/ 1878991 w 3500972"/>
                <a:gd name="connsiteY13" fmla="*/ 270839 h 1799858"/>
                <a:gd name="connsiteX14" fmla="*/ 1561588 w 3500972"/>
                <a:gd name="connsiteY14" fmla="*/ 458538 h 1799858"/>
                <a:gd name="connsiteX15" fmla="*/ 1553303 w 3500972"/>
                <a:gd name="connsiteY15" fmla="*/ 435112 h 1799858"/>
                <a:gd name="connsiteX16" fmla="*/ 1179333 w 3500972"/>
                <a:gd name="connsiteY16" fmla="*/ 424827 h 1799858"/>
                <a:gd name="connsiteX17" fmla="*/ 1124480 w 3500972"/>
                <a:gd name="connsiteY17" fmla="*/ 122851 h 1799858"/>
                <a:gd name="connsiteX18" fmla="*/ 1043915 w 3500972"/>
                <a:gd name="connsiteY18" fmla="*/ 336834 h 1799858"/>
                <a:gd name="connsiteX19" fmla="*/ 1132765 w 3500972"/>
                <a:gd name="connsiteY19" fmla="*/ 532247 h 1799858"/>
                <a:gd name="connsiteX20" fmla="*/ 1225329 w 3500972"/>
                <a:gd name="connsiteY20" fmla="*/ 547103 h 1799858"/>
                <a:gd name="connsiteX21" fmla="*/ 1294181 w 3500972"/>
                <a:gd name="connsiteY21" fmla="*/ 546817 h 1799858"/>
                <a:gd name="connsiteX22" fmla="*/ 1254470 w 3500972"/>
                <a:gd name="connsiteY22" fmla="*/ 581386 h 1799858"/>
                <a:gd name="connsiteX23" fmla="*/ 1232472 w 3500972"/>
                <a:gd name="connsiteY23" fmla="*/ 584528 h 1799858"/>
                <a:gd name="connsiteX24" fmla="*/ 984206 w 3500972"/>
                <a:gd name="connsiteY24" fmla="*/ 533389 h 1799858"/>
                <a:gd name="connsiteX25" fmla="*/ 993062 w 3500972"/>
                <a:gd name="connsiteY25" fmla="*/ 274839 h 1799858"/>
                <a:gd name="connsiteX26" fmla="*/ 1004490 w 3500972"/>
                <a:gd name="connsiteY26" fmla="*/ 210273 h 1799858"/>
                <a:gd name="connsiteX27" fmla="*/ 1035630 w 3500972"/>
                <a:gd name="connsiteY27" fmla="*/ 99139 h 1799858"/>
                <a:gd name="connsiteX28" fmla="*/ 1018203 w 3500972"/>
                <a:gd name="connsiteY28" fmla="*/ 23716 h 1799858"/>
                <a:gd name="connsiteX29" fmla="*/ 1020203 w 3500972"/>
                <a:gd name="connsiteY29" fmla="*/ 108281 h 1799858"/>
                <a:gd name="connsiteX30" fmla="*/ 994491 w 3500972"/>
                <a:gd name="connsiteY30" fmla="*/ 159991 h 1799858"/>
                <a:gd name="connsiteX31" fmla="*/ 988777 w 3500972"/>
                <a:gd name="connsiteY31" fmla="*/ 123423 h 1799858"/>
                <a:gd name="connsiteX32" fmla="*/ 958208 w 3500972"/>
                <a:gd name="connsiteY32" fmla="*/ 4 h 1799858"/>
                <a:gd name="connsiteX33" fmla="*/ 961351 w 3500972"/>
                <a:gd name="connsiteY33" fmla="*/ 248841 h 1799858"/>
                <a:gd name="connsiteX34" fmla="*/ 892785 w 3500972"/>
                <a:gd name="connsiteY34" fmla="*/ 570244 h 1799858"/>
                <a:gd name="connsiteX35" fmla="*/ 343972 w 3500972"/>
                <a:gd name="connsiteY35" fmla="*/ 598527 h 1799858"/>
                <a:gd name="connsiteX36" fmla="*/ 0 w 3500972"/>
                <a:gd name="connsiteY36" fmla="*/ 666521 h 1799858"/>
                <a:gd name="connsiteX37" fmla="*/ 167701 w 3500972"/>
                <a:gd name="connsiteY37" fmla="*/ 801082 h 1799858"/>
                <a:gd name="connsiteX38" fmla="*/ 1044487 w 3500972"/>
                <a:gd name="connsiteY38" fmla="*/ 745944 h 1799858"/>
                <a:gd name="connsiteX39" fmla="*/ 1627011 w 3500972"/>
                <a:gd name="connsiteY39" fmla="*/ 607669 h 1799858"/>
                <a:gd name="connsiteX40" fmla="*/ 2432946 w 3500972"/>
                <a:gd name="connsiteY40" fmla="*/ 703661 h 1799858"/>
                <a:gd name="connsiteX41" fmla="*/ 2585505 w 3500972"/>
                <a:gd name="connsiteY41" fmla="*/ 705661 h 1799858"/>
                <a:gd name="connsiteX42" fmla="*/ 3305447 w 3500972"/>
                <a:gd name="connsiteY42" fmla="*/ 1104486 h 1799858"/>
                <a:gd name="connsiteX43" fmla="*/ 3477433 w 3500972"/>
                <a:gd name="connsiteY43" fmla="*/ 1799858 h 1799858"/>
                <a:gd name="connsiteX44" fmla="*/ 3478004 w 3500972"/>
                <a:gd name="connsiteY44" fmla="*/ 1358465 h 17998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</a:cxnLst>
              <a:rect l="l" t="t" r="r" b="b"/>
              <a:pathLst>
                <a:path w="3500972" h="1799858">
                  <a:moveTo>
                    <a:pt x="3478004" y="1358465"/>
                  </a:moveTo>
                  <a:cubicBezTo>
                    <a:pt x="3452863" y="1216477"/>
                    <a:pt x="3430865" y="1107343"/>
                    <a:pt x="3368299" y="1012493"/>
                  </a:cubicBezTo>
                  <a:cubicBezTo>
                    <a:pt x="3401725" y="920215"/>
                    <a:pt x="3359156" y="832794"/>
                    <a:pt x="3366870" y="790797"/>
                  </a:cubicBezTo>
                  <a:cubicBezTo>
                    <a:pt x="3377155" y="734516"/>
                    <a:pt x="3329159" y="694519"/>
                    <a:pt x="3281448" y="657665"/>
                  </a:cubicBezTo>
                  <a:cubicBezTo>
                    <a:pt x="3233738" y="620811"/>
                    <a:pt x="3192599" y="521390"/>
                    <a:pt x="3134889" y="294837"/>
                  </a:cubicBezTo>
                  <a:cubicBezTo>
                    <a:pt x="3123747" y="250841"/>
                    <a:pt x="3112319" y="215701"/>
                    <a:pt x="3101463" y="187132"/>
                  </a:cubicBezTo>
                  <a:lnTo>
                    <a:pt x="3087464" y="270839"/>
                  </a:lnTo>
                  <a:lnTo>
                    <a:pt x="3098035" y="591385"/>
                  </a:lnTo>
                  <a:cubicBezTo>
                    <a:pt x="3098035" y="591385"/>
                    <a:pt x="3122318" y="634524"/>
                    <a:pt x="3132032" y="715660"/>
                  </a:cubicBezTo>
                  <a:cubicBezTo>
                    <a:pt x="3102034" y="684520"/>
                    <a:pt x="3067752" y="651666"/>
                    <a:pt x="3029183" y="618525"/>
                  </a:cubicBezTo>
                  <a:lnTo>
                    <a:pt x="2888338" y="115709"/>
                  </a:lnTo>
                  <a:cubicBezTo>
                    <a:pt x="2888338" y="115709"/>
                    <a:pt x="2857769" y="92568"/>
                    <a:pt x="2842627" y="181989"/>
                  </a:cubicBezTo>
                  <a:cubicBezTo>
                    <a:pt x="2827485" y="271125"/>
                    <a:pt x="2846055" y="390830"/>
                    <a:pt x="2772347" y="441111"/>
                  </a:cubicBezTo>
                  <a:cubicBezTo>
                    <a:pt x="2607503" y="351690"/>
                    <a:pt x="2235819" y="149706"/>
                    <a:pt x="1878991" y="270839"/>
                  </a:cubicBezTo>
                  <a:cubicBezTo>
                    <a:pt x="1743859" y="316836"/>
                    <a:pt x="1659580" y="392258"/>
                    <a:pt x="1561588" y="458538"/>
                  </a:cubicBezTo>
                  <a:cubicBezTo>
                    <a:pt x="1560731" y="449682"/>
                    <a:pt x="1558160" y="441683"/>
                    <a:pt x="1553303" y="435112"/>
                  </a:cubicBezTo>
                  <a:cubicBezTo>
                    <a:pt x="1503593" y="364832"/>
                    <a:pt x="1285325" y="514534"/>
                    <a:pt x="1179333" y="424827"/>
                  </a:cubicBezTo>
                  <a:cubicBezTo>
                    <a:pt x="1083055" y="343405"/>
                    <a:pt x="1158478" y="129994"/>
                    <a:pt x="1124480" y="122851"/>
                  </a:cubicBezTo>
                  <a:cubicBezTo>
                    <a:pt x="1099911" y="117709"/>
                    <a:pt x="1040487" y="223700"/>
                    <a:pt x="1043915" y="336834"/>
                  </a:cubicBezTo>
                  <a:cubicBezTo>
                    <a:pt x="1044201" y="345690"/>
                    <a:pt x="1050201" y="497107"/>
                    <a:pt x="1132765" y="532247"/>
                  </a:cubicBezTo>
                  <a:cubicBezTo>
                    <a:pt x="1155335" y="541674"/>
                    <a:pt x="1193618" y="547103"/>
                    <a:pt x="1225329" y="547103"/>
                  </a:cubicBezTo>
                  <a:cubicBezTo>
                    <a:pt x="1265040" y="547103"/>
                    <a:pt x="1290753" y="539103"/>
                    <a:pt x="1294181" y="546817"/>
                  </a:cubicBezTo>
                  <a:cubicBezTo>
                    <a:pt x="1297609" y="554531"/>
                    <a:pt x="1274183" y="567387"/>
                    <a:pt x="1254470" y="581386"/>
                  </a:cubicBezTo>
                  <a:cubicBezTo>
                    <a:pt x="1247328" y="582528"/>
                    <a:pt x="1239900" y="583385"/>
                    <a:pt x="1232472" y="584528"/>
                  </a:cubicBezTo>
                  <a:cubicBezTo>
                    <a:pt x="1180762" y="590528"/>
                    <a:pt x="1029631" y="607098"/>
                    <a:pt x="984206" y="533389"/>
                  </a:cubicBezTo>
                  <a:cubicBezTo>
                    <a:pt x="961351" y="496535"/>
                    <a:pt x="971921" y="422541"/>
                    <a:pt x="993062" y="274839"/>
                  </a:cubicBezTo>
                  <a:cubicBezTo>
                    <a:pt x="997348" y="245698"/>
                    <a:pt x="999348" y="230557"/>
                    <a:pt x="1004490" y="210273"/>
                  </a:cubicBezTo>
                  <a:cubicBezTo>
                    <a:pt x="1019060" y="151135"/>
                    <a:pt x="1034202" y="138279"/>
                    <a:pt x="1035630" y="99139"/>
                  </a:cubicBezTo>
                  <a:cubicBezTo>
                    <a:pt x="1037059" y="55714"/>
                    <a:pt x="1019917" y="23431"/>
                    <a:pt x="1018203" y="23716"/>
                  </a:cubicBezTo>
                  <a:cubicBezTo>
                    <a:pt x="1016489" y="24002"/>
                    <a:pt x="1030488" y="61999"/>
                    <a:pt x="1020203" y="108281"/>
                  </a:cubicBezTo>
                  <a:cubicBezTo>
                    <a:pt x="1014489" y="134279"/>
                    <a:pt x="1001347" y="161420"/>
                    <a:pt x="994491" y="159991"/>
                  </a:cubicBezTo>
                  <a:cubicBezTo>
                    <a:pt x="989348" y="158848"/>
                    <a:pt x="989920" y="140850"/>
                    <a:pt x="988777" y="123423"/>
                  </a:cubicBezTo>
                  <a:cubicBezTo>
                    <a:pt x="985634" y="58285"/>
                    <a:pt x="963922" y="-567"/>
                    <a:pt x="958208" y="4"/>
                  </a:cubicBezTo>
                  <a:cubicBezTo>
                    <a:pt x="950494" y="861"/>
                    <a:pt x="970207" y="112566"/>
                    <a:pt x="961351" y="248841"/>
                  </a:cubicBezTo>
                  <a:cubicBezTo>
                    <a:pt x="949352" y="429112"/>
                    <a:pt x="943352" y="519391"/>
                    <a:pt x="892785" y="570244"/>
                  </a:cubicBezTo>
                  <a:cubicBezTo>
                    <a:pt x="805935" y="657665"/>
                    <a:pt x="679945" y="579386"/>
                    <a:pt x="343972" y="598527"/>
                  </a:cubicBezTo>
                  <a:cubicBezTo>
                    <a:pt x="187985" y="607383"/>
                    <a:pt x="62852" y="615954"/>
                    <a:pt x="0" y="666521"/>
                  </a:cubicBezTo>
                  <a:cubicBezTo>
                    <a:pt x="21998" y="705947"/>
                    <a:pt x="68852" y="756800"/>
                    <a:pt x="167701" y="801082"/>
                  </a:cubicBezTo>
                  <a:cubicBezTo>
                    <a:pt x="363971" y="889361"/>
                    <a:pt x="819934" y="772227"/>
                    <a:pt x="1044487" y="745944"/>
                  </a:cubicBezTo>
                  <a:cubicBezTo>
                    <a:pt x="1269040" y="719660"/>
                    <a:pt x="1627011" y="607669"/>
                    <a:pt x="1627011" y="607669"/>
                  </a:cubicBezTo>
                  <a:cubicBezTo>
                    <a:pt x="1627011" y="607669"/>
                    <a:pt x="2269245" y="771084"/>
                    <a:pt x="2432946" y="703661"/>
                  </a:cubicBezTo>
                  <a:cubicBezTo>
                    <a:pt x="2596647" y="636238"/>
                    <a:pt x="2585505" y="705661"/>
                    <a:pt x="2585505" y="705661"/>
                  </a:cubicBezTo>
                  <a:cubicBezTo>
                    <a:pt x="2740064" y="938499"/>
                    <a:pt x="3305447" y="1104486"/>
                    <a:pt x="3305447" y="1104486"/>
                  </a:cubicBezTo>
                  <a:cubicBezTo>
                    <a:pt x="3455434" y="1260759"/>
                    <a:pt x="3495431" y="1611873"/>
                    <a:pt x="3477433" y="1799858"/>
                  </a:cubicBezTo>
                  <a:cubicBezTo>
                    <a:pt x="3508001" y="1648442"/>
                    <a:pt x="3509430" y="1536165"/>
                    <a:pt x="3478004" y="1358465"/>
                  </a:cubicBezTo>
                  <a:close/>
                </a:path>
              </a:pathLst>
            </a:custGeom>
            <a:solidFill>
              <a:srgbClr val="286B14"/>
            </a:solidFill>
            <a:ln w="2850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19" name="Freeform: Shape 1318">
              <a:extLst>
                <a:ext uri="{FF2B5EF4-FFF2-40B4-BE49-F238E27FC236}">
                  <a16:creationId xmlns:a16="http://schemas.microsoft.com/office/drawing/2014/main" id="{9EA4421D-C121-4582-833E-F2D7C5E7DA65}"/>
                </a:ext>
              </a:extLst>
            </p:cNvPr>
            <p:cNvSpPr/>
            <p:nvPr/>
          </p:nvSpPr>
          <p:spPr>
            <a:xfrm>
              <a:off x="8483018" y="3878965"/>
              <a:ext cx="1608441" cy="755932"/>
            </a:xfrm>
            <a:custGeom>
              <a:avLst/>
              <a:gdLst>
                <a:gd name="connsiteX0" fmla="*/ 1026203 w 1608441"/>
                <a:gd name="connsiteY0" fmla="*/ 168837 h 755932"/>
                <a:gd name="connsiteX1" fmla="*/ 292262 w 1608441"/>
                <a:gd name="connsiteY1" fmla="*/ 39705 h 755932"/>
                <a:gd name="connsiteX2" fmla="*/ 0 w 1608441"/>
                <a:gd name="connsiteY2" fmla="*/ 277400 h 755932"/>
                <a:gd name="connsiteX3" fmla="*/ 751082 w 1608441"/>
                <a:gd name="connsiteY3" fmla="*/ 359964 h 755932"/>
                <a:gd name="connsiteX4" fmla="*/ 903641 w 1608441"/>
                <a:gd name="connsiteY4" fmla="*/ 361964 h 755932"/>
                <a:gd name="connsiteX5" fmla="*/ 1608441 w 1608441"/>
                <a:gd name="connsiteY5" fmla="*/ 755932 h 755932"/>
                <a:gd name="connsiteX6" fmla="*/ 1026203 w 1608441"/>
                <a:gd name="connsiteY6" fmla="*/ 168837 h 7559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608441" h="755932">
                  <a:moveTo>
                    <a:pt x="1026203" y="168837"/>
                  </a:moveTo>
                  <a:cubicBezTo>
                    <a:pt x="826504" y="66560"/>
                    <a:pt x="564240" y="-68001"/>
                    <a:pt x="292262" y="39705"/>
                  </a:cubicBezTo>
                  <a:cubicBezTo>
                    <a:pt x="148274" y="96557"/>
                    <a:pt x="54853" y="200263"/>
                    <a:pt x="0" y="277400"/>
                  </a:cubicBezTo>
                  <a:cubicBezTo>
                    <a:pt x="158844" y="315111"/>
                    <a:pt x="616521" y="415388"/>
                    <a:pt x="751082" y="359964"/>
                  </a:cubicBezTo>
                  <a:cubicBezTo>
                    <a:pt x="914783" y="292541"/>
                    <a:pt x="903641" y="361964"/>
                    <a:pt x="903641" y="361964"/>
                  </a:cubicBezTo>
                  <a:cubicBezTo>
                    <a:pt x="1043058" y="572233"/>
                    <a:pt x="1517306" y="727649"/>
                    <a:pt x="1608441" y="755932"/>
                  </a:cubicBezTo>
                  <a:cubicBezTo>
                    <a:pt x="1396173" y="364535"/>
                    <a:pt x="1043630" y="177693"/>
                    <a:pt x="1026203" y="168837"/>
                  </a:cubicBezTo>
                  <a:close/>
                </a:path>
              </a:pathLst>
            </a:custGeom>
            <a:solidFill>
              <a:srgbClr val="308218"/>
            </a:solidFill>
            <a:ln w="2850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20" name="Freeform: Shape 1319">
              <a:extLst>
                <a:ext uri="{FF2B5EF4-FFF2-40B4-BE49-F238E27FC236}">
                  <a16:creationId xmlns:a16="http://schemas.microsoft.com/office/drawing/2014/main" id="{EB0398C7-9A73-49AA-8259-6CECE8A9C416}"/>
                </a:ext>
              </a:extLst>
            </p:cNvPr>
            <p:cNvSpPr/>
            <p:nvPr/>
          </p:nvSpPr>
          <p:spPr>
            <a:xfrm>
              <a:off x="8248281" y="4044285"/>
              <a:ext cx="1822607" cy="584040"/>
            </a:xfrm>
            <a:custGeom>
              <a:avLst/>
              <a:gdLst>
                <a:gd name="connsiteX0" fmla="*/ 1618910 w 1822607"/>
                <a:gd name="connsiteY0" fmla="*/ 509761 h 584040"/>
                <a:gd name="connsiteX1" fmla="*/ 1640051 w 1822607"/>
                <a:gd name="connsiteY1" fmla="*/ 518332 h 584040"/>
                <a:gd name="connsiteX2" fmla="*/ 1642908 w 1822607"/>
                <a:gd name="connsiteY2" fmla="*/ 519474 h 584040"/>
                <a:gd name="connsiteX3" fmla="*/ 1664335 w 1822607"/>
                <a:gd name="connsiteY3" fmla="*/ 527760 h 584040"/>
                <a:gd name="connsiteX4" fmla="*/ 1668906 w 1822607"/>
                <a:gd name="connsiteY4" fmla="*/ 529474 h 584040"/>
                <a:gd name="connsiteX5" fmla="*/ 1688905 w 1822607"/>
                <a:gd name="connsiteY5" fmla="*/ 537187 h 584040"/>
                <a:gd name="connsiteX6" fmla="*/ 1693476 w 1822607"/>
                <a:gd name="connsiteY6" fmla="*/ 538901 h 584040"/>
                <a:gd name="connsiteX7" fmla="*/ 1712617 w 1822607"/>
                <a:gd name="connsiteY7" fmla="*/ 546044 h 584040"/>
                <a:gd name="connsiteX8" fmla="*/ 1716617 w 1822607"/>
                <a:gd name="connsiteY8" fmla="*/ 547472 h 584040"/>
                <a:gd name="connsiteX9" fmla="*/ 1735187 w 1822607"/>
                <a:gd name="connsiteY9" fmla="*/ 554329 h 584040"/>
                <a:gd name="connsiteX10" fmla="*/ 1737758 w 1822607"/>
                <a:gd name="connsiteY10" fmla="*/ 555186 h 584040"/>
                <a:gd name="connsiteX11" fmla="*/ 1755185 w 1822607"/>
                <a:gd name="connsiteY11" fmla="*/ 561471 h 584040"/>
                <a:gd name="connsiteX12" fmla="*/ 1756613 w 1822607"/>
                <a:gd name="connsiteY12" fmla="*/ 562043 h 584040"/>
                <a:gd name="connsiteX13" fmla="*/ 1773469 w 1822607"/>
                <a:gd name="connsiteY13" fmla="*/ 567756 h 584040"/>
                <a:gd name="connsiteX14" fmla="*/ 1776040 w 1822607"/>
                <a:gd name="connsiteY14" fmla="*/ 568613 h 584040"/>
                <a:gd name="connsiteX15" fmla="*/ 1791182 w 1822607"/>
                <a:gd name="connsiteY15" fmla="*/ 573756 h 584040"/>
                <a:gd name="connsiteX16" fmla="*/ 1793468 w 1822607"/>
                <a:gd name="connsiteY16" fmla="*/ 574613 h 584040"/>
                <a:gd name="connsiteX17" fmla="*/ 1807181 w 1822607"/>
                <a:gd name="connsiteY17" fmla="*/ 579184 h 584040"/>
                <a:gd name="connsiteX18" fmla="*/ 1809180 w 1822607"/>
                <a:gd name="connsiteY18" fmla="*/ 579755 h 584040"/>
                <a:gd name="connsiteX19" fmla="*/ 1821465 w 1822607"/>
                <a:gd name="connsiteY19" fmla="*/ 583755 h 584040"/>
                <a:gd name="connsiteX20" fmla="*/ 1822322 w 1822607"/>
                <a:gd name="connsiteY20" fmla="*/ 584041 h 584040"/>
                <a:gd name="connsiteX21" fmla="*/ 1822608 w 1822607"/>
                <a:gd name="connsiteY21" fmla="*/ 584041 h 584040"/>
                <a:gd name="connsiteX22" fmla="*/ 1575771 w 1822607"/>
                <a:gd name="connsiteY22" fmla="*/ 452337 h 584040"/>
                <a:gd name="connsiteX23" fmla="*/ 1186945 w 1822607"/>
                <a:gd name="connsiteY23" fmla="*/ 216642 h 584040"/>
                <a:gd name="connsiteX24" fmla="*/ 1146663 w 1822607"/>
                <a:gd name="connsiteY24" fmla="*/ 133506 h 584040"/>
                <a:gd name="connsiteX25" fmla="*/ 966677 w 1822607"/>
                <a:gd name="connsiteY25" fmla="*/ 136363 h 584040"/>
                <a:gd name="connsiteX26" fmla="*/ 325586 w 1822607"/>
                <a:gd name="connsiteY26" fmla="*/ 90938 h 584040"/>
                <a:gd name="connsiteX27" fmla="*/ 176741 w 1822607"/>
                <a:gd name="connsiteY27" fmla="*/ 374 h 584040"/>
                <a:gd name="connsiteX28" fmla="*/ 4470 w 1822607"/>
                <a:gd name="connsiteY28" fmla="*/ 91224 h 584040"/>
                <a:gd name="connsiteX29" fmla="*/ 4755 w 1822607"/>
                <a:gd name="connsiteY29" fmla="*/ 149219 h 584040"/>
                <a:gd name="connsiteX30" fmla="*/ 180170 w 1822607"/>
                <a:gd name="connsiteY30" fmla="*/ 98651 h 584040"/>
                <a:gd name="connsiteX31" fmla="*/ 235022 w 1822607"/>
                <a:gd name="connsiteY31" fmla="*/ 112079 h 584040"/>
                <a:gd name="connsiteX32" fmla="*/ 235022 w 1822607"/>
                <a:gd name="connsiteY32" fmla="*/ 112079 h 584040"/>
                <a:gd name="connsiteX33" fmla="*/ 267020 w 1822607"/>
                <a:gd name="connsiteY33" fmla="*/ 119507 h 584040"/>
                <a:gd name="connsiteX34" fmla="*/ 268734 w 1822607"/>
                <a:gd name="connsiteY34" fmla="*/ 119793 h 584040"/>
                <a:gd name="connsiteX35" fmla="*/ 285875 w 1822607"/>
                <a:gd name="connsiteY35" fmla="*/ 123792 h 584040"/>
                <a:gd name="connsiteX36" fmla="*/ 288732 w 1822607"/>
                <a:gd name="connsiteY36" fmla="*/ 124364 h 584040"/>
                <a:gd name="connsiteX37" fmla="*/ 327015 w 1822607"/>
                <a:gd name="connsiteY37" fmla="*/ 132934 h 584040"/>
                <a:gd name="connsiteX38" fmla="*/ 330443 w 1822607"/>
                <a:gd name="connsiteY38" fmla="*/ 133791 h 584040"/>
                <a:gd name="connsiteX39" fmla="*/ 350442 w 1822607"/>
                <a:gd name="connsiteY39" fmla="*/ 138077 h 584040"/>
                <a:gd name="connsiteX40" fmla="*/ 353870 w 1822607"/>
                <a:gd name="connsiteY40" fmla="*/ 138934 h 584040"/>
                <a:gd name="connsiteX41" fmla="*/ 374154 w 1822607"/>
                <a:gd name="connsiteY41" fmla="*/ 143219 h 584040"/>
                <a:gd name="connsiteX42" fmla="*/ 376154 w 1822607"/>
                <a:gd name="connsiteY42" fmla="*/ 143505 h 584040"/>
                <a:gd name="connsiteX43" fmla="*/ 397581 w 1822607"/>
                <a:gd name="connsiteY43" fmla="*/ 148076 h 584040"/>
                <a:gd name="connsiteX44" fmla="*/ 403009 w 1822607"/>
                <a:gd name="connsiteY44" fmla="*/ 149219 h 584040"/>
                <a:gd name="connsiteX45" fmla="*/ 425007 w 1822607"/>
                <a:gd name="connsiteY45" fmla="*/ 153790 h 584040"/>
                <a:gd name="connsiteX46" fmla="*/ 429007 w 1822607"/>
                <a:gd name="connsiteY46" fmla="*/ 154647 h 584040"/>
                <a:gd name="connsiteX47" fmla="*/ 450148 w 1822607"/>
                <a:gd name="connsiteY47" fmla="*/ 158932 h 584040"/>
                <a:gd name="connsiteX48" fmla="*/ 453862 w 1822607"/>
                <a:gd name="connsiteY48" fmla="*/ 159504 h 584040"/>
                <a:gd name="connsiteX49" fmla="*/ 476717 w 1822607"/>
                <a:gd name="connsiteY49" fmla="*/ 163789 h 584040"/>
                <a:gd name="connsiteX50" fmla="*/ 482716 w 1822607"/>
                <a:gd name="connsiteY50" fmla="*/ 164932 h 584040"/>
                <a:gd name="connsiteX51" fmla="*/ 506143 w 1822607"/>
                <a:gd name="connsiteY51" fmla="*/ 169217 h 584040"/>
                <a:gd name="connsiteX52" fmla="*/ 510143 w 1822607"/>
                <a:gd name="connsiteY52" fmla="*/ 170074 h 584040"/>
                <a:gd name="connsiteX53" fmla="*/ 531570 w 1822607"/>
                <a:gd name="connsiteY53" fmla="*/ 173788 h 584040"/>
                <a:gd name="connsiteX54" fmla="*/ 536712 w 1822607"/>
                <a:gd name="connsiteY54" fmla="*/ 174645 h 584040"/>
                <a:gd name="connsiteX55" fmla="*/ 560139 w 1822607"/>
                <a:gd name="connsiteY55" fmla="*/ 178645 h 584040"/>
                <a:gd name="connsiteX56" fmla="*/ 566424 w 1822607"/>
                <a:gd name="connsiteY56" fmla="*/ 179788 h 584040"/>
                <a:gd name="connsiteX57" fmla="*/ 590422 w 1822607"/>
                <a:gd name="connsiteY57" fmla="*/ 183787 h 584040"/>
                <a:gd name="connsiteX58" fmla="*/ 593850 w 1822607"/>
                <a:gd name="connsiteY58" fmla="*/ 184359 h 584040"/>
                <a:gd name="connsiteX59" fmla="*/ 615849 w 1822607"/>
                <a:gd name="connsiteY59" fmla="*/ 187787 h 584040"/>
                <a:gd name="connsiteX60" fmla="*/ 621848 w 1822607"/>
                <a:gd name="connsiteY60" fmla="*/ 188644 h 584040"/>
                <a:gd name="connsiteX61" fmla="*/ 645561 w 1822607"/>
                <a:gd name="connsiteY61" fmla="*/ 192072 h 584040"/>
                <a:gd name="connsiteX62" fmla="*/ 651560 w 1822607"/>
                <a:gd name="connsiteY62" fmla="*/ 192930 h 584040"/>
                <a:gd name="connsiteX63" fmla="*/ 674701 w 1822607"/>
                <a:gd name="connsiteY63" fmla="*/ 196072 h 584040"/>
                <a:gd name="connsiteX64" fmla="*/ 676987 w 1822607"/>
                <a:gd name="connsiteY64" fmla="*/ 196358 h 584040"/>
                <a:gd name="connsiteX65" fmla="*/ 700413 w 1822607"/>
                <a:gd name="connsiteY65" fmla="*/ 199215 h 584040"/>
                <a:gd name="connsiteX66" fmla="*/ 706127 w 1822607"/>
                <a:gd name="connsiteY66" fmla="*/ 199786 h 584040"/>
                <a:gd name="connsiteX67" fmla="*/ 729268 w 1822607"/>
                <a:gd name="connsiteY67" fmla="*/ 202357 h 584040"/>
                <a:gd name="connsiteX68" fmla="*/ 734411 w 1822607"/>
                <a:gd name="connsiteY68" fmla="*/ 202929 h 584040"/>
                <a:gd name="connsiteX69" fmla="*/ 755837 w 1822607"/>
                <a:gd name="connsiteY69" fmla="*/ 204929 h 584040"/>
                <a:gd name="connsiteX70" fmla="*/ 758694 w 1822607"/>
                <a:gd name="connsiteY70" fmla="*/ 205214 h 584040"/>
                <a:gd name="connsiteX71" fmla="*/ 781264 w 1822607"/>
                <a:gd name="connsiteY71" fmla="*/ 207214 h 584040"/>
                <a:gd name="connsiteX72" fmla="*/ 786692 w 1822607"/>
                <a:gd name="connsiteY72" fmla="*/ 207500 h 584040"/>
                <a:gd name="connsiteX73" fmla="*/ 808404 w 1822607"/>
                <a:gd name="connsiteY73" fmla="*/ 208928 h 584040"/>
                <a:gd name="connsiteX74" fmla="*/ 812404 w 1822607"/>
                <a:gd name="connsiteY74" fmla="*/ 209214 h 584040"/>
                <a:gd name="connsiteX75" fmla="*/ 832117 w 1822607"/>
                <a:gd name="connsiteY75" fmla="*/ 210071 h 584040"/>
                <a:gd name="connsiteX76" fmla="*/ 835259 w 1822607"/>
                <a:gd name="connsiteY76" fmla="*/ 210071 h 584040"/>
                <a:gd name="connsiteX77" fmla="*/ 855543 w 1822607"/>
                <a:gd name="connsiteY77" fmla="*/ 210642 h 584040"/>
                <a:gd name="connsiteX78" fmla="*/ 860114 w 1822607"/>
                <a:gd name="connsiteY78" fmla="*/ 210642 h 584040"/>
                <a:gd name="connsiteX79" fmla="*/ 879827 w 1822607"/>
                <a:gd name="connsiteY79" fmla="*/ 210642 h 584040"/>
                <a:gd name="connsiteX80" fmla="*/ 882399 w 1822607"/>
                <a:gd name="connsiteY80" fmla="*/ 210642 h 584040"/>
                <a:gd name="connsiteX81" fmla="*/ 899825 w 1822607"/>
                <a:gd name="connsiteY81" fmla="*/ 210071 h 584040"/>
                <a:gd name="connsiteX82" fmla="*/ 902968 w 1822607"/>
                <a:gd name="connsiteY82" fmla="*/ 209785 h 584040"/>
                <a:gd name="connsiteX83" fmla="*/ 920110 w 1822607"/>
                <a:gd name="connsiteY83" fmla="*/ 208357 h 584040"/>
                <a:gd name="connsiteX84" fmla="*/ 923824 w 1822607"/>
                <a:gd name="connsiteY84" fmla="*/ 208071 h 584040"/>
                <a:gd name="connsiteX85" fmla="*/ 940108 w 1822607"/>
                <a:gd name="connsiteY85" fmla="*/ 206071 h 584040"/>
                <a:gd name="connsiteX86" fmla="*/ 941251 w 1822607"/>
                <a:gd name="connsiteY86" fmla="*/ 205786 h 584040"/>
                <a:gd name="connsiteX87" fmla="*/ 955535 w 1822607"/>
                <a:gd name="connsiteY87" fmla="*/ 203214 h 584040"/>
                <a:gd name="connsiteX88" fmla="*/ 958392 w 1822607"/>
                <a:gd name="connsiteY88" fmla="*/ 202643 h 584040"/>
                <a:gd name="connsiteX89" fmla="*/ 971534 w 1822607"/>
                <a:gd name="connsiteY89" fmla="*/ 199215 h 584040"/>
                <a:gd name="connsiteX90" fmla="*/ 974105 w 1822607"/>
                <a:gd name="connsiteY90" fmla="*/ 198358 h 584040"/>
                <a:gd name="connsiteX91" fmla="*/ 986390 w 1822607"/>
                <a:gd name="connsiteY91" fmla="*/ 194072 h 584040"/>
                <a:gd name="connsiteX92" fmla="*/ 1138949 w 1822607"/>
                <a:gd name="connsiteY92" fmla="*/ 196072 h 584040"/>
                <a:gd name="connsiteX93" fmla="*/ 1152091 w 1822607"/>
                <a:gd name="connsiteY93" fmla="*/ 214356 h 584040"/>
                <a:gd name="connsiteX94" fmla="*/ 1153805 w 1822607"/>
                <a:gd name="connsiteY94" fmla="*/ 216356 h 584040"/>
                <a:gd name="connsiteX95" fmla="*/ 1167804 w 1822607"/>
                <a:gd name="connsiteY95" fmla="*/ 233212 h 584040"/>
                <a:gd name="connsiteX96" fmla="*/ 1170375 w 1822607"/>
                <a:gd name="connsiteY96" fmla="*/ 236069 h 584040"/>
                <a:gd name="connsiteX97" fmla="*/ 1185517 w 1822607"/>
                <a:gd name="connsiteY97" fmla="*/ 252353 h 584040"/>
                <a:gd name="connsiteX98" fmla="*/ 1188374 w 1822607"/>
                <a:gd name="connsiteY98" fmla="*/ 255210 h 584040"/>
                <a:gd name="connsiteX99" fmla="*/ 1205229 w 1822607"/>
                <a:gd name="connsiteY99" fmla="*/ 271495 h 584040"/>
                <a:gd name="connsiteX100" fmla="*/ 1207801 w 1822607"/>
                <a:gd name="connsiteY100" fmla="*/ 273780 h 584040"/>
                <a:gd name="connsiteX101" fmla="*/ 1226656 w 1822607"/>
                <a:gd name="connsiteY101" fmla="*/ 290350 h 584040"/>
                <a:gd name="connsiteX102" fmla="*/ 1227228 w 1822607"/>
                <a:gd name="connsiteY102" fmla="*/ 290922 h 584040"/>
                <a:gd name="connsiteX103" fmla="*/ 1246940 w 1822607"/>
                <a:gd name="connsiteY103" fmla="*/ 306920 h 584040"/>
                <a:gd name="connsiteX104" fmla="*/ 1249226 w 1822607"/>
                <a:gd name="connsiteY104" fmla="*/ 308920 h 584040"/>
                <a:gd name="connsiteX105" fmla="*/ 1269510 w 1822607"/>
                <a:gd name="connsiteY105" fmla="*/ 324062 h 584040"/>
                <a:gd name="connsiteX106" fmla="*/ 1273224 w 1822607"/>
                <a:gd name="connsiteY106" fmla="*/ 326919 h 584040"/>
                <a:gd name="connsiteX107" fmla="*/ 1293794 w 1822607"/>
                <a:gd name="connsiteY107" fmla="*/ 341489 h 584040"/>
                <a:gd name="connsiteX108" fmla="*/ 1297793 w 1822607"/>
                <a:gd name="connsiteY108" fmla="*/ 344346 h 584040"/>
                <a:gd name="connsiteX109" fmla="*/ 1319220 w 1822607"/>
                <a:gd name="connsiteY109" fmla="*/ 358630 h 584040"/>
                <a:gd name="connsiteX110" fmla="*/ 1322934 w 1822607"/>
                <a:gd name="connsiteY110" fmla="*/ 360916 h 584040"/>
                <a:gd name="connsiteX111" fmla="*/ 1345789 w 1822607"/>
                <a:gd name="connsiteY111" fmla="*/ 375200 h 584040"/>
                <a:gd name="connsiteX112" fmla="*/ 1347504 w 1822607"/>
                <a:gd name="connsiteY112" fmla="*/ 376343 h 584040"/>
                <a:gd name="connsiteX113" fmla="*/ 1370359 w 1822607"/>
                <a:gd name="connsiteY113" fmla="*/ 390056 h 584040"/>
                <a:gd name="connsiteX114" fmla="*/ 1373501 w 1822607"/>
                <a:gd name="connsiteY114" fmla="*/ 391771 h 584040"/>
                <a:gd name="connsiteX115" fmla="*/ 1396928 w 1822607"/>
                <a:gd name="connsiteY115" fmla="*/ 404912 h 584040"/>
                <a:gd name="connsiteX116" fmla="*/ 1401499 w 1822607"/>
                <a:gd name="connsiteY116" fmla="*/ 407484 h 584040"/>
                <a:gd name="connsiteX117" fmla="*/ 1424640 w 1822607"/>
                <a:gd name="connsiteY117" fmla="*/ 419768 h 584040"/>
                <a:gd name="connsiteX118" fmla="*/ 1429497 w 1822607"/>
                <a:gd name="connsiteY118" fmla="*/ 422340 h 584040"/>
                <a:gd name="connsiteX119" fmla="*/ 1452638 w 1822607"/>
                <a:gd name="connsiteY119" fmla="*/ 434339 h 584040"/>
                <a:gd name="connsiteX120" fmla="*/ 1457209 w 1822607"/>
                <a:gd name="connsiteY120" fmla="*/ 436624 h 584040"/>
                <a:gd name="connsiteX121" fmla="*/ 1481207 w 1822607"/>
                <a:gd name="connsiteY121" fmla="*/ 448623 h 584040"/>
                <a:gd name="connsiteX122" fmla="*/ 1484064 w 1822607"/>
                <a:gd name="connsiteY122" fmla="*/ 450052 h 584040"/>
                <a:gd name="connsiteX123" fmla="*/ 1507491 w 1822607"/>
                <a:gd name="connsiteY123" fmla="*/ 461193 h 584040"/>
                <a:gd name="connsiteX124" fmla="*/ 1510919 w 1822607"/>
                <a:gd name="connsiteY124" fmla="*/ 462622 h 584040"/>
                <a:gd name="connsiteX125" fmla="*/ 1534631 w 1822607"/>
                <a:gd name="connsiteY125" fmla="*/ 473478 h 584040"/>
                <a:gd name="connsiteX126" fmla="*/ 1539488 w 1822607"/>
                <a:gd name="connsiteY126" fmla="*/ 475764 h 584040"/>
                <a:gd name="connsiteX127" fmla="*/ 1562343 w 1822607"/>
                <a:gd name="connsiteY127" fmla="*/ 485763 h 584040"/>
                <a:gd name="connsiteX128" fmla="*/ 1567486 w 1822607"/>
                <a:gd name="connsiteY128" fmla="*/ 488048 h 584040"/>
                <a:gd name="connsiteX129" fmla="*/ 1589770 w 1822607"/>
                <a:gd name="connsiteY129" fmla="*/ 497762 h 584040"/>
                <a:gd name="connsiteX130" fmla="*/ 1594627 w 1822607"/>
                <a:gd name="connsiteY130" fmla="*/ 499762 h 584040"/>
                <a:gd name="connsiteX131" fmla="*/ 1617196 w 1822607"/>
                <a:gd name="connsiteY131" fmla="*/ 509190 h 584040"/>
                <a:gd name="connsiteX132" fmla="*/ 1618910 w 1822607"/>
                <a:gd name="connsiteY132" fmla="*/ 509761 h 5840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</a:cxnLst>
              <a:rect l="l" t="t" r="r" b="b"/>
              <a:pathLst>
                <a:path w="1822607" h="584040">
                  <a:moveTo>
                    <a:pt x="1618910" y="509761"/>
                  </a:moveTo>
                  <a:cubicBezTo>
                    <a:pt x="1626053" y="512618"/>
                    <a:pt x="1633195" y="515475"/>
                    <a:pt x="1640051" y="518332"/>
                  </a:cubicBezTo>
                  <a:cubicBezTo>
                    <a:pt x="1640908" y="518617"/>
                    <a:pt x="1642051" y="519189"/>
                    <a:pt x="1642908" y="519474"/>
                  </a:cubicBezTo>
                  <a:cubicBezTo>
                    <a:pt x="1650051" y="522331"/>
                    <a:pt x="1657193" y="525188"/>
                    <a:pt x="1664335" y="527760"/>
                  </a:cubicBezTo>
                  <a:cubicBezTo>
                    <a:pt x="1665764" y="528331"/>
                    <a:pt x="1667192" y="528902"/>
                    <a:pt x="1668906" y="529474"/>
                  </a:cubicBezTo>
                  <a:cubicBezTo>
                    <a:pt x="1675763" y="532045"/>
                    <a:pt x="1682334" y="534616"/>
                    <a:pt x="1688905" y="537187"/>
                  </a:cubicBezTo>
                  <a:cubicBezTo>
                    <a:pt x="1690333" y="537759"/>
                    <a:pt x="1692047" y="538330"/>
                    <a:pt x="1693476" y="538901"/>
                  </a:cubicBezTo>
                  <a:cubicBezTo>
                    <a:pt x="1700046" y="541473"/>
                    <a:pt x="1706332" y="543758"/>
                    <a:pt x="1712617" y="546044"/>
                  </a:cubicBezTo>
                  <a:cubicBezTo>
                    <a:pt x="1714045" y="546615"/>
                    <a:pt x="1715188" y="546901"/>
                    <a:pt x="1716617" y="547472"/>
                  </a:cubicBezTo>
                  <a:cubicBezTo>
                    <a:pt x="1722902" y="549758"/>
                    <a:pt x="1729187" y="552043"/>
                    <a:pt x="1735187" y="554329"/>
                  </a:cubicBezTo>
                  <a:cubicBezTo>
                    <a:pt x="1736044" y="554614"/>
                    <a:pt x="1736901" y="554900"/>
                    <a:pt x="1737758" y="555186"/>
                  </a:cubicBezTo>
                  <a:cubicBezTo>
                    <a:pt x="1743757" y="557186"/>
                    <a:pt x="1749471" y="559471"/>
                    <a:pt x="1755185" y="561471"/>
                  </a:cubicBezTo>
                  <a:cubicBezTo>
                    <a:pt x="1755756" y="561757"/>
                    <a:pt x="1756042" y="561757"/>
                    <a:pt x="1756613" y="562043"/>
                  </a:cubicBezTo>
                  <a:cubicBezTo>
                    <a:pt x="1762327" y="564042"/>
                    <a:pt x="1768041" y="566042"/>
                    <a:pt x="1773469" y="567756"/>
                  </a:cubicBezTo>
                  <a:cubicBezTo>
                    <a:pt x="1774326" y="568042"/>
                    <a:pt x="1775183" y="568328"/>
                    <a:pt x="1776040" y="568613"/>
                  </a:cubicBezTo>
                  <a:cubicBezTo>
                    <a:pt x="1781183" y="570327"/>
                    <a:pt x="1786325" y="572042"/>
                    <a:pt x="1791182" y="573756"/>
                  </a:cubicBezTo>
                  <a:cubicBezTo>
                    <a:pt x="1792039" y="574041"/>
                    <a:pt x="1792896" y="574327"/>
                    <a:pt x="1793468" y="574613"/>
                  </a:cubicBezTo>
                  <a:cubicBezTo>
                    <a:pt x="1798324" y="576327"/>
                    <a:pt x="1802895" y="577755"/>
                    <a:pt x="1807181" y="579184"/>
                  </a:cubicBezTo>
                  <a:cubicBezTo>
                    <a:pt x="1807752" y="579470"/>
                    <a:pt x="1808323" y="579470"/>
                    <a:pt x="1809180" y="579755"/>
                  </a:cubicBezTo>
                  <a:cubicBezTo>
                    <a:pt x="1813466" y="581184"/>
                    <a:pt x="1817751" y="582612"/>
                    <a:pt x="1821465" y="583755"/>
                  </a:cubicBezTo>
                  <a:cubicBezTo>
                    <a:pt x="1821751" y="583755"/>
                    <a:pt x="1822037" y="584041"/>
                    <a:pt x="1822322" y="584041"/>
                  </a:cubicBezTo>
                  <a:cubicBezTo>
                    <a:pt x="1822322" y="584041"/>
                    <a:pt x="1822608" y="584041"/>
                    <a:pt x="1822608" y="584041"/>
                  </a:cubicBezTo>
                  <a:cubicBezTo>
                    <a:pt x="1781183" y="550043"/>
                    <a:pt x="1710046" y="512904"/>
                    <a:pt x="1575771" y="452337"/>
                  </a:cubicBezTo>
                  <a:cubicBezTo>
                    <a:pt x="1318078" y="336346"/>
                    <a:pt x="1208944" y="312063"/>
                    <a:pt x="1186945" y="216642"/>
                  </a:cubicBezTo>
                  <a:cubicBezTo>
                    <a:pt x="1182660" y="197786"/>
                    <a:pt x="1177803" y="158361"/>
                    <a:pt x="1146663" y="133506"/>
                  </a:cubicBezTo>
                  <a:cubicBezTo>
                    <a:pt x="1095810" y="93223"/>
                    <a:pt x="1014102" y="122364"/>
                    <a:pt x="966677" y="136363"/>
                  </a:cubicBezTo>
                  <a:cubicBezTo>
                    <a:pt x="799262" y="185502"/>
                    <a:pt x="497287" y="212357"/>
                    <a:pt x="325586" y="90938"/>
                  </a:cubicBezTo>
                  <a:cubicBezTo>
                    <a:pt x="268162" y="50084"/>
                    <a:pt x="242165" y="4945"/>
                    <a:pt x="176741" y="374"/>
                  </a:cubicBezTo>
                  <a:cubicBezTo>
                    <a:pt x="107033" y="-4483"/>
                    <a:pt x="23325" y="38656"/>
                    <a:pt x="4470" y="91224"/>
                  </a:cubicBezTo>
                  <a:cubicBezTo>
                    <a:pt x="-1816" y="108365"/>
                    <a:pt x="-1244" y="128078"/>
                    <a:pt x="4755" y="149219"/>
                  </a:cubicBezTo>
                  <a:cubicBezTo>
                    <a:pt x="106176" y="121507"/>
                    <a:pt x="180170" y="98651"/>
                    <a:pt x="180170" y="98651"/>
                  </a:cubicBezTo>
                  <a:cubicBezTo>
                    <a:pt x="180170" y="98651"/>
                    <a:pt x="200739" y="103794"/>
                    <a:pt x="235022" y="112079"/>
                  </a:cubicBezTo>
                  <a:cubicBezTo>
                    <a:pt x="235022" y="112079"/>
                    <a:pt x="235022" y="112079"/>
                    <a:pt x="235022" y="112079"/>
                  </a:cubicBezTo>
                  <a:cubicBezTo>
                    <a:pt x="244736" y="114364"/>
                    <a:pt x="255306" y="116936"/>
                    <a:pt x="267020" y="119507"/>
                  </a:cubicBezTo>
                  <a:cubicBezTo>
                    <a:pt x="267591" y="119507"/>
                    <a:pt x="268162" y="119793"/>
                    <a:pt x="268734" y="119793"/>
                  </a:cubicBezTo>
                  <a:cubicBezTo>
                    <a:pt x="274162" y="120935"/>
                    <a:pt x="279876" y="122364"/>
                    <a:pt x="285875" y="123792"/>
                  </a:cubicBezTo>
                  <a:cubicBezTo>
                    <a:pt x="286732" y="124078"/>
                    <a:pt x="287589" y="124078"/>
                    <a:pt x="288732" y="124364"/>
                  </a:cubicBezTo>
                  <a:cubicBezTo>
                    <a:pt x="300731" y="127221"/>
                    <a:pt x="313587" y="130077"/>
                    <a:pt x="327015" y="132934"/>
                  </a:cubicBezTo>
                  <a:cubicBezTo>
                    <a:pt x="328158" y="133220"/>
                    <a:pt x="329300" y="133506"/>
                    <a:pt x="330443" y="133791"/>
                  </a:cubicBezTo>
                  <a:cubicBezTo>
                    <a:pt x="337014" y="135220"/>
                    <a:pt x="343585" y="136648"/>
                    <a:pt x="350442" y="138077"/>
                  </a:cubicBezTo>
                  <a:cubicBezTo>
                    <a:pt x="351584" y="138363"/>
                    <a:pt x="352727" y="138648"/>
                    <a:pt x="353870" y="138934"/>
                  </a:cubicBezTo>
                  <a:cubicBezTo>
                    <a:pt x="360441" y="140362"/>
                    <a:pt x="367297" y="141791"/>
                    <a:pt x="374154" y="143219"/>
                  </a:cubicBezTo>
                  <a:cubicBezTo>
                    <a:pt x="374725" y="143219"/>
                    <a:pt x="375297" y="143505"/>
                    <a:pt x="376154" y="143505"/>
                  </a:cubicBezTo>
                  <a:cubicBezTo>
                    <a:pt x="383296" y="144933"/>
                    <a:pt x="390438" y="146362"/>
                    <a:pt x="397581" y="148076"/>
                  </a:cubicBezTo>
                  <a:cubicBezTo>
                    <a:pt x="399295" y="148362"/>
                    <a:pt x="401295" y="148933"/>
                    <a:pt x="403009" y="149219"/>
                  </a:cubicBezTo>
                  <a:cubicBezTo>
                    <a:pt x="410151" y="150647"/>
                    <a:pt x="417579" y="152076"/>
                    <a:pt x="425007" y="153790"/>
                  </a:cubicBezTo>
                  <a:cubicBezTo>
                    <a:pt x="426150" y="154076"/>
                    <a:pt x="427578" y="154361"/>
                    <a:pt x="429007" y="154647"/>
                  </a:cubicBezTo>
                  <a:cubicBezTo>
                    <a:pt x="435863" y="156075"/>
                    <a:pt x="443005" y="157504"/>
                    <a:pt x="450148" y="158932"/>
                  </a:cubicBezTo>
                  <a:cubicBezTo>
                    <a:pt x="451290" y="159218"/>
                    <a:pt x="452433" y="159504"/>
                    <a:pt x="453862" y="159504"/>
                  </a:cubicBezTo>
                  <a:cubicBezTo>
                    <a:pt x="461575" y="160932"/>
                    <a:pt x="469003" y="162361"/>
                    <a:pt x="476717" y="163789"/>
                  </a:cubicBezTo>
                  <a:cubicBezTo>
                    <a:pt x="478717" y="164075"/>
                    <a:pt x="480717" y="164646"/>
                    <a:pt x="482716" y="164932"/>
                  </a:cubicBezTo>
                  <a:cubicBezTo>
                    <a:pt x="490430" y="166360"/>
                    <a:pt x="498144" y="167789"/>
                    <a:pt x="506143" y="169217"/>
                  </a:cubicBezTo>
                  <a:cubicBezTo>
                    <a:pt x="507572" y="169503"/>
                    <a:pt x="508714" y="169789"/>
                    <a:pt x="510143" y="170074"/>
                  </a:cubicBezTo>
                  <a:cubicBezTo>
                    <a:pt x="517285" y="171503"/>
                    <a:pt x="524427" y="172645"/>
                    <a:pt x="531570" y="173788"/>
                  </a:cubicBezTo>
                  <a:cubicBezTo>
                    <a:pt x="533284" y="174074"/>
                    <a:pt x="534998" y="174360"/>
                    <a:pt x="536712" y="174645"/>
                  </a:cubicBezTo>
                  <a:cubicBezTo>
                    <a:pt x="544426" y="176074"/>
                    <a:pt x="552425" y="177502"/>
                    <a:pt x="560139" y="178645"/>
                  </a:cubicBezTo>
                  <a:cubicBezTo>
                    <a:pt x="562139" y="178931"/>
                    <a:pt x="564424" y="179216"/>
                    <a:pt x="566424" y="179788"/>
                  </a:cubicBezTo>
                  <a:cubicBezTo>
                    <a:pt x="574423" y="181216"/>
                    <a:pt x="582423" y="182359"/>
                    <a:pt x="590422" y="183787"/>
                  </a:cubicBezTo>
                  <a:cubicBezTo>
                    <a:pt x="591565" y="184073"/>
                    <a:pt x="592708" y="184073"/>
                    <a:pt x="593850" y="184359"/>
                  </a:cubicBezTo>
                  <a:cubicBezTo>
                    <a:pt x="601278" y="185502"/>
                    <a:pt x="608421" y="186644"/>
                    <a:pt x="615849" y="187787"/>
                  </a:cubicBezTo>
                  <a:cubicBezTo>
                    <a:pt x="617848" y="188073"/>
                    <a:pt x="619848" y="188358"/>
                    <a:pt x="621848" y="188644"/>
                  </a:cubicBezTo>
                  <a:cubicBezTo>
                    <a:pt x="629847" y="189787"/>
                    <a:pt x="637561" y="190930"/>
                    <a:pt x="645561" y="192072"/>
                  </a:cubicBezTo>
                  <a:cubicBezTo>
                    <a:pt x="647560" y="192358"/>
                    <a:pt x="649560" y="192644"/>
                    <a:pt x="651560" y="192930"/>
                  </a:cubicBezTo>
                  <a:cubicBezTo>
                    <a:pt x="659274" y="194072"/>
                    <a:pt x="666987" y="195215"/>
                    <a:pt x="674701" y="196072"/>
                  </a:cubicBezTo>
                  <a:cubicBezTo>
                    <a:pt x="675558" y="196072"/>
                    <a:pt x="676129" y="196358"/>
                    <a:pt x="676987" y="196358"/>
                  </a:cubicBezTo>
                  <a:cubicBezTo>
                    <a:pt x="684986" y="197501"/>
                    <a:pt x="692699" y="198358"/>
                    <a:pt x="700413" y="199215"/>
                  </a:cubicBezTo>
                  <a:cubicBezTo>
                    <a:pt x="702413" y="199500"/>
                    <a:pt x="704127" y="199786"/>
                    <a:pt x="706127" y="199786"/>
                  </a:cubicBezTo>
                  <a:cubicBezTo>
                    <a:pt x="713841" y="200643"/>
                    <a:pt x="721554" y="201500"/>
                    <a:pt x="729268" y="202357"/>
                  </a:cubicBezTo>
                  <a:cubicBezTo>
                    <a:pt x="730982" y="202643"/>
                    <a:pt x="732696" y="202643"/>
                    <a:pt x="734411" y="202929"/>
                  </a:cubicBezTo>
                  <a:cubicBezTo>
                    <a:pt x="741553" y="203786"/>
                    <a:pt x="748695" y="204357"/>
                    <a:pt x="755837" y="204929"/>
                  </a:cubicBezTo>
                  <a:cubicBezTo>
                    <a:pt x="756694" y="204929"/>
                    <a:pt x="757551" y="205214"/>
                    <a:pt x="758694" y="205214"/>
                  </a:cubicBezTo>
                  <a:cubicBezTo>
                    <a:pt x="766408" y="205786"/>
                    <a:pt x="773836" y="206643"/>
                    <a:pt x="781264" y="207214"/>
                  </a:cubicBezTo>
                  <a:cubicBezTo>
                    <a:pt x="782978" y="207214"/>
                    <a:pt x="784978" y="207500"/>
                    <a:pt x="786692" y="207500"/>
                  </a:cubicBezTo>
                  <a:cubicBezTo>
                    <a:pt x="794120" y="208071"/>
                    <a:pt x="801262" y="208642"/>
                    <a:pt x="808404" y="208928"/>
                  </a:cubicBezTo>
                  <a:cubicBezTo>
                    <a:pt x="809833" y="208928"/>
                    <a:pt x="810976" y="208928"/>
                    <a:pt x="812404" y="209214"/>
                  </a:cubicBezTo>
                  <a:cubicBezTo>
                    <a:pt x="818975" y="209500"/>
                    <a:pt x="825546" y="209785"/>
                    <a:pt x="832117" y="210071"/>
                  </a:cubicBezTo>
                  <a:cubicBezTo>
                    <a:pt x="833260" y="210071"/>
                    <a:pt x="834402" y="210071"/>
                    <a:pt x="835259" y="210071"/>
                  </a:cubicBezTo>
                  <a:cubicBezTo>
                    <a:pt x="842116" y="210357"/>
                    <a:pt x="848973" y="210357"/>
                    <a:pt x="855543" y="210642"/>
                  </a:cubicBezTo>
                  <a:cubicBezTo>
                    <a:pt x="856972" y="210642"/>
                    <a:pt x="858686" y="210642"/>
                    <a:pt x="860114" y="210642"/>
                  </a:cubicBezTo>
                  <a:cubicBezTo>
                    <a:pt x="866685" y="210642"/>
                    <a:pt x="873256" y="210642"/>
                    <a:pt x="879827" y="210642"/>
                  </a:cubicBezTo>
                  <a:cubicBezTo>
                    <a:pt x="880684" y="210642"/>
                    <a:pt x="881541" y="210642"/>
                    <a:pt x="882399" y="210642"/>
                  </a:cubicBezTo>
                  <a:cubicBezTo>
                    <a:pt x="888398" y="210642"/>
                    <a:pt x="894112" y="210357"/>
                    <a:pt x="899825" y="210071"/>
                  </a:cubicBezTo>
                  <a:cubicBezTo>
                    <a:pt x="900968" y="210071"/>
                    <a:pt x="902111" y="210071"/>
                    <a:pt x="902968" y="209785"/>
                  </a:cubicBezTo>
                  <a:cubicBezTo>
                    <a:pt x="908968" y="209500"/>
                    <a:pt x="914682" y="208928"/>
                    <a:pt x="920110" y="208357"/>
                  </a:cubicBezTo>
                  <a:cubicBezTo>
                    <a:pt x="921252" y="208357"/>
                    <a:pt x="922395" y="208071"/>
                    <a:pt x="923824" y="208071"/>
                  </a:cubicBezTo>
                  <a:cubicBezTo>
                    <a:pt x="929537" y="207500"/>
                    <a:pt x="934966" y="206928"/>
                    <a:pt x="940108" y="206071"/>
                  </a:cubicBezTo>
                  <a:cubicBezTo>
                    <a:pt x="940394" y="206071"/>
                    <a:pt x="940965" y="206071"/>
                    <a:pt x="941251" y="205786"/>
                  </a:cubicBezTo>
                  <a:cubicBezTo>
                    <a:pt x="946108" y="204929"/>
                    <a:pt x="950964" y="204071"/>
                    <a:pt x="955535" y="203214"/>
                  </a:cubicBezTo>
                  <a:cubicBezTo>
                    <a:pt x="956392" y="202929"/>
                    <a:pt x="957249" y="202929"/>
                    <a:pt x="958392" y="202643"/>
                  </a:cubicBezTo>
                  <a:cubicBezTo>
                    <a:pt x="962963" y="201500"/>
                    <a:pt x="967534" y="200643"/>
                    <a:pt x="971534" y="199215"/>
                  </a:cubicBezTo>
                  <a:cubicBezTo>
                    <a:pt x="972391" y="198929"/>
                    <a:pt x="973248" y="198643"/>
                    <a:pt x="974105" y="198358"/>
                  </a:cubicBezTo>
                  <a:cubicBezTo>
                    <a:pt x="978391" y="196929"/>
                    <a:pt x="982390" y="195786"/>
                    <a:pt x="986390" y="194072"/>
                  </a:cubicBezTo>
                  <a:cubicBezTo>
                    <a:pt x="1150091" y="126649"/>
                    <a:pt x="1138949" y="196072"/>
                    <a:pt x="1138949" y="196072"/>
                  </a:cubicBezTo>
                  <a:cubicBezTo>
                    <a:pt x="1142949" y="202072"/>
                    <a:pt x="1147520" y="208071"/>
                    <a:pt x="1152091" y="214356"/>
                  </a:cubicBezTo>
                  <a:cubicBezTo>
                    <a:pt x="1152662" y="214928"/>
                    <a:pt x="1153234" y="215785"/>
                    <a:pt x="1153805" y="216356"/>
                  </a:cubicBezTo>
                  <a:cubicBezTo>
                    <a:pt x="1158090" y="222070"/>
                    <a:pt x="1162947" y="227784"/>
                    <a:pt x="1167804" y="233212"/>
                  </a:cubicBezTo>
                  <a:cubicBezTo>
                    <a:pt x="1168661" y="234069"/>
                    <a:pt x="1169518" y="235212"/>
                    <a:pt x="1170375" y="236069"/>
                  </a:cubicBezTo>
                  <a:cubicBezTo>
                    <a:pt x="1175232" y="241497"/>
                    <a:pt x="1180374" y="246925"/>
                    <a:pt x="1185517" y="252353"/>
                  </a:cubicBezTo>
                  <a:cubicBezTo>
                    <a:pt x="1186374" y="253210"/>
                    <a:pt x="1187517" y="254353"/>
                    <a:pt x="1188374" y="255210"/>
                  </a:cubicBezTo>
                  <a:cubicBezTo>
                    <a:pt x="1193802" y="260638"/>
                    <a:pt x="1199230" y="266066"/>
                    <a:pt x="1205229" y="271495"/>
                  </a:cubicBezTo>
                  <a:cubicBezTo>
                    <a:pt x="1206086" y="272352"/>
                    <a:pt x="1206943" y="272923"/>
                    <a:pt x="1207801" y="273780"/>
                  </a:cubicBezTo>
                  <a:cubicBezTo>
                    <a:pt x="1213800" y="279208"/>
                    <a:pt x="1220085" y="284922"/>
                    <a:pt x="1226656" y="290350"/>
                  </a:cubicBezTo>
                  <a:cubicBezTo>
                    <a:pt x="1226942" y="290636"/>
                    <a:pt x="1226942" y="290636"/>
                    <a:pt x="1227228" y="290922"/>
                  </a:cubicBezTo>
                  <a:cubicBezTo>
                    <a:pt x="1233513" y="296350"/>
                    <a:pt x="1240370" y="301778"/>
                    <a:pt x="1246940" y="306920"/>
                  </a:cubicBezTo>
                  <a:cubicBezTo>
                    <a:pt x="1247797" y="307492"/>
                    <a:pt x="1248655" y="308063"/>
                    <a:pt x="1249226" y="308920"/>
                  </a:cubicBezTo>
                  <a:cubicBezTo>
                    <a:pt x="1255797" y="314063"/>
                    <a:pt x="1262653" y="319205"/>
                    <a:pt x="1269510" y="324062"/>
                  </a:cubicBezTo>
                  <a:cubicBezTo>
                    <a:pt x="1270653" y="324919"/>
                    <a:pt x="1272081" y="325776"/>
                    <a:pt x="1273224" y="326919"/>
                  </a:cubicBezTo>
                  <a:cubicBezTo>
                    <a:pt x="1280081" y="331775"/>
                    <a:pt x="1286937" y="336632"/>
                    <a:pt x="1293794" y="341489"/>
                  </a:cubicBezTo>
                  <a:cubicBezTo>
                    <a:pt x="1295222" y="342346"/>
                    <a:pt x="1296651" y="343203"/>
                    <a:pt x="1297793" y="344346"/>
                  </a:cubicBezTo>
                  <a:cubicBezTo>
                    <a:pt x="1304936" y="349203"/>
                    <a:pt x="1312078" y="353774"/>
                    <a:pt x="1319220" y="358630"/>
                  </a:cubicBezTo>
                  <a:cubicBezTo>
                    <a:pt x="1320363" y="359487"/>
                    <a:pt x="1321791" y="360059"/>
                    <a:pt x="1322934" y="360916"/>
                  </a:cubicBezTo>
                  <a:cubicBezTo>
                    <a:pt x="1330362" y="365773"/>
                    <a:pt x="1338076" y="370629"/>
                    <a:pt x="1345789" y="375200"/>
                  </a:cubicBezTo>
                  <a:cubicBezTo>
                    <a:pt x="1346361" y="375486"/>
                    <a:pt x="1346932" y="375772"/>
                    <a:pt x="1347504" y="376343"/>
                  </a:cubicBezTo>
                  <a:cubicBezTo>
                    <a:pt x="1355217" y="380914"/>
                    <a:pt x="1362645" y="385485"/>
                    <a:pt x="1370359" y="390056"/>
                  </a:cubicBezTo>
                  <a:cubicBezTo>
                    <a:pt x="1371502" y="390628"/>
                    <a:pt x="1372359" y="391199"/>
                    <a:pt x="1373501" y="391771"/>
                  </a:cubicBezTo>
                  <a:cubicBezTo>
                    <a:pt x="1381215" y="396342"/>
                    <a:pt x="1388929" y="400627"/>
                    <a:pt x="1396928" y="404912"/>
                  </a:cubicBezTo>
                  <a:cubicBezTo>
                    <a:pt x="1398357" y="405769"/>
                    <a:pt x="1400071" y="406626"/>
                    <a:pt x="1401499" y="407484"/>
                  </a:cubicBezTo>
                  <a:cubicBezTo>
                    <a:pt x="1409213" y="411769"/>
                    <a:pt x="1416927" y="415769"/>
                    <a:pt x="1424640" y="419768"/>
                  </a:cubicBezTo>
                  <a:cubicBezTo>
                    <a:pt x="1426354" y="420625"/>
                    <a:pt x="1428069" y="421482"/>
                    <a:pt x="1429497" y="422340"/>
                  </a:cubicBezTo>
                  <a:cubicBezTo>
                    <a:pt x="1437211" y="426339"/>
                    <a:pt x="1444924" y="430339"/>
                    <a:pt x="1452638" y="434339"/>
                  </a:cubicBezTo>
                  <a:cubicBezTo>
                    <a:pt x="1454066" y="435196"/>
                    <a:pt x="1455781" y="435767"/>
                    <a:pt x="1457209" y="436624"/>
                  </a:cubicBezTo>
                  <a:cubicBezTo>
                    <a:pt x="1465208" y="440624"/>
                    <a:pt x="1473208" y="444623"/>
                    <a:pt x="1481207" y="448623"/>
                  </a:cubicBezTo>
                  <a:cubicBezTo>
                    <a:pt x="1482064" y="449194"/>
                    <a:pt x="1482921" y="449480"/>
                    <a:pt x="1484064" y="450052"/>
                  </a:cubicBezTo>
                  <a:cubicBezTo>
                    <a:pt x="1491778" y="453766"/>
                    <a:pt x="1499777" y="457480"/>
                    <a:pt x="1507491" y="461193"/>
                  </a:cubicBezTo>
                  <a:cubicBezTo>
                    <a:pt x="1508633" y="461765"/>
                    <a:pt x="1509776" y="462336"/>
                    <a:pt x="1510919" y="462622"/>
                  </a:cubicBezTo>
                  <a:cubicBezTo>
                    <a:pt x="1518918" y="466336"/>
                    <a:pt x="1526632" y="469764"/>
                    <a:pt x="1534631" y="473478"/>
                  </a:cubicBezTo>
                  <a:cubicBezTo>
                    <a:pt x="1536346" y="474335"/>
                    <a:pt x="1537774" y="474907"/>
                    <a:pt x="1539488" y="475764"/>
                  </a:cubicBezTo>
                  <a:cubicBezTo>
                    <a:pt x="1547202" y="479192"/>
                    <a:pt x="1554630" y="482620"/>
                    <a:pt x="1562343" y="485763"/>
                  </a:cubicBezTo>
                  <a:cubicBezTo>
                    <a:pt x="1564057" y="486620"/>
                    <a:pt x="1565772" y="487191"/>
                    <a:pt x="1567486" y="488048"/>
                  </a:cubicBezTo>
                  <a:cubicBezTo>
                    <a:pt x="1574914" y="491191"/>
                    <a:pt x="1582342" y="494619"/>
                    <a:pt x="1589770" y="497762"/>
                  </a:cubicBezTo>
                  <a:cubicBezTo>
                    <a:pt x="1591484" y="498333"/>
                    <a:pt x="1592912" y="499190"/>
                    <a:pt x="1594627" y="499762"/>
                  </a:cubicBezTo>
                  <a:cubicBezTo>
                    <a:pt x="1602054" y="502904"/>
                    <a:pt x="1609768" y="506047"/>
                    <a:pt x="1617196" y="509190"/>
                  </a:cubicBezTo>
                  <a:cubicBezTo>
                    <a:pt x="1616910" y="508904"/>
                    <a:pt x="1618053" y="509475"/>
                    <a:pt x="1618910" y="509761"/>
                  </a:cubicBezTo>
                  <a:close/>
                </a:path>
              </a:pathLst>
            </a:custGeom>
            <a:solidFill>
              <a:srgbClr val="2A3E33">
                <a:alpha val="94000"/>
              </a:srgbClr>
            </a:solidFill>
            <a:ln w="2850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21" name="Freeform: Shape 1320">
              <a:extLst>
                <a:ext uri="{FF2B5EF4-FFF2-40B4-BE49-F238E27FC236}">
                  <a16:creationId xmlns:a16="http://schemas.microsoft.com/office/drawing/2014/main" id="{D24060B8-C529-4EAF-9AAE-2FAD026A2301}"/>
                </a:ext>
              </a:extLst>
            </p:cNvPr>
            <p:cNvSpPr/>
            <p:nvPr/>
          </p:nvSpPr>
          <p:spPr>
            <a:xfrm>
              <a:off x="7230262" y="3534411"/>
              <a:ext cx="1249613" cy="709946"/>
            </a:xfrm>
            <a:custGeom>
              <a:avLst/>
              <a:gdLst>
                <a:gd name="connsiteX0" fmla="*/ 1249613 w 1249613"/>
                <a:gd name="connsiteY0" fmla="*/ 376259 h 709946"/>
                <a:gd name="connsiteX1" fmla="*/ 1133051 w 1249613"/>
                <a:gd name="connsiteY1" fmla="*/ 458538 h 709946"/>
                <a:gd name="connsiteX2" fmla="*/ 1124766 w 1249613"/>
                <a:gd name="connsiteY2" fmla="*/ 435112 h 709946"/>
                <a:gd name="connsiteX3" fmla="*/ 750796 w 1249613"/>
                <a:gd name="connsiteY3" fmla="*/ 424827 h 709946"/>
                <a:gd name="connsiteX4" fmla="*/ 695944 w 1249613"/>
                <a:gd name="connsiteY4" fmla="*/ 122851 h 709946"/>
                <a:gd name="connsiteX5" fmla="*/ 615379 w 1249613"/>
                <a:gd name="connsiteY5" fmla="*/ 336834 h 709946"/>
                <a:gd name="connsiteX6" fmla="*/ 704229 w 1249613"/>
                <a:gd name="connsiteY6" fmla="*/ 532247 h 709946"/>
                <a:gd name="connsiteX7" fmla="*/ 796793 w 1249613"/>
                <a:gd name="connsiteY7" fmla="*/ 547103 h 709946"/>
                <a:gd name="connsiteX8" fmla="*/ 865644 w 1249613"/>
                <a:gd name="connsiteY8" fmla="*/ 546817 h 709946"/>
                <a:gd name="connsiteX9" fmla="*/ 825933 w 1249613"/>
                <a:gd name="connsiteY9" fmla="*/ 581386 h 709946"/>
                <a:gd name="connsiteX10" fmla="*/ 803935 w 1249613"/>
                <a:gd name="connsiteY10" fmla="*/ 584528 h 709946"/>
                <a:gd name="connsiteX11" fmla="*/ 555669 w 1249613"/>
                <a:gd name="connsiteY11" fmla="*/ 533389 h 709946"/>
                <a:gd name="connsiteX12" fmla="*/ 564526 w 1249613"/>
                <a:gd name="connsiteY12" fmla="*/ 274839 h 709946"/>
                <a:gd name="connsiteX13" fmla="*/ 575953 w 1249613"/>
                <a:gd name="connsiteY13" fmla="*/ 210273 h 709946"/>
                <a:gd name="connsiteX14" fmla="*/ 607094 w 1249613"/>
                <a:gd name="connsiteY14" fmla="*/ 99139 h 709946"/>
                <a:gd name="connsiteX15" fmla="*/ 589666 w 1249613"/>
                <a:gd name="connsiteY15" fmla="*/ 23716 h 709946"/>
                <a:gd name="connsiteX16" fmla="*/ 591666 w 1249613"/>
                <a:gd name="connsiteY16" fmla="*/ 108281 h 709946"/>
                <a:gd name="connsiteX17" fmla="*/ 565954 w 1249613"/>
                <a:gd name="connsiteY17" fmla="*/ 159991 h 709946"/>
                <a:gd name="connsiteX18" fmla="*/ 560240 w 1249613"/>
                <a:gd name="connsiteY18" fmla="*/ 123423 h 709946"/>
                <a:gd name="connsiteX19" fmla="*/ 529671 w 1249613"/>
                <a:gd name="connsiteY19" fmla="*/ 4 h 709946"/>
                <a:gd name="connsiteX20" fmla="*/ 532814 w 1249613"/>
                <a:gd name="connsiteY20" fmla="*/ 248841 h 709946"/>
                <a:gd name="connsiteX21" fmla="*/ 464248 w 1249613"/>
                <a:gd name="connsiteY21" fmla="*/ 570244 h 709946"/>
                <a:gd name="connsiteX22" fmla="*/ 0 w 1249613"/>
                <a:gd name="connsiteY22" fmla="*/ 595670 h 709946"/>
                <a:gd name="connsiteX23" fmla="*/ 247980 w 1249613"/>
                <a:gd name="connsiteY23" fmla="*/ 630524 h 709946"/>
                <a:gd name="connsiteX24" fmla="*/ 464534 w 1249613"/>
                <a:gd name="connsiteY24" fmla="*/ 639095 h 709946"/>
                <a:gd name="connsiteX25" fmla="*/ 695372 w 1249613"/>
                <a:gd name="connsiteY25" fmla="*/ 607383 h 709946"/>
                <a:gd name="connsiteX26" fmla="*/ 815934 w 1249613"/>
                <a:gd name="connsiteY26" fmla="*/ 709947 h 709946"/>
                <a:gd name="connsiteX27" fmla="*/ 1135908 w 1249613"/>
                <a:gd name="connsiteY27" fmla="*/ 626239 h 709946"/>
                <a:gd name="connsiteX28" fmla="*/ 1249613 w 1249613"/>
                <a:gd name="connsiteY28" fmla="*/ 376259 h 7099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1249613" h="709946">
                  <a:moveTo>
                    <a:pt x="1249613" y="376259"/>
                  </a:moveTo>
                  <a:cubicBezTo>
                    <a:pt x="1210188" y="403400"/>
                    <a:pt x="1172762" y="431969"/>
                    <a:pt x="1133051" y="458538"/>
                  </a:cubicBezTo>
                  <a:cubicBezTo>
                    <a:pt x="1132194" y="449682"/>
                    <a:pt x="1129623" y="441683"/>
                    <a:pt x="1124766" y="435112"/>
                  </a:cubicBezTo>
                  <a:cubicBezTo>
                    <a:pt x="1075056" y="364832"/>
                    <a:pt x="856788" y="514534"/>
                    <a:pt x="750796" y="424827"/>
                  </a:cubicBezTo>
                  <a:cubicBezTo>
                    <a:pt x="654518" y="343405"/>
                    <a:pt x="729941" y="129994"/>
                    <a:pt x="695944" y="122851"/>
                  </a:cubicBezTo>
                  <a:cubicBezTo>
                    <a:pt x="671374" y="117709"/>
                    <a:pt x="611950" y="223700"/>
                    <a:pt x="615379" y="336834"/>
                  </a:cubicBezTo>
                  <a:cubicBezTo>
                    <a:pt x="615664" y="345690"/>
                    <a:pt x="621664" y="497107"/>
                    <a:pt x="704229" y="532247"/>
                  </a:cubicBezTo>
                  <a:cubicBezTo>
                    <a:pt x="726798" y="541674"/>
                    <a:pt x="765081" y="547103"/>
                    <a:pt x="796793" y="547103"/>
                  </a:cubicBezTo>
                  <a:cubicBezTo>
                    <a:pt x="836504" y="547103"/>
                    <a:pt x="862216" y="539103"/>
                    <a:pt x="865644" y="546817"/>
                  </a:cubicBezTo>
                  <a:cubicBezTo>
                    <a:pt x="869072" y="554531"/>
                    <a:pt x="845646" y="567387"/>
                    <a:pt x="825933" y="581386"/>
                  </a:cubicBezTo>
                  <a:cubicBezTo>
                    <a:pt x="818791" y="582528"/>
                    <a:pt x="811363" y="583385"/>
                    <a:pt x="803935" y="584528"/>
                  </a:cubicBezTo>
                  <a:cubicBezTo>
                    <a:pt x="752225" y="590528"/>
                    <a:pt x="601094" y="607098"/>
                    <a:pt x="555669" y="533389"/>
                  </a:cubicBezTo>
                  <a:cubicBezTo>
                    <a:pt x="532814" y="496535"/>
                    <a:pt x="543385" y="422541"/>
                    <a:pt x="564526" y="274839"/>
                  </a:cubicBezTo>
                  <a:cubicBezTo>
                    <a:pt x="568811" y="245698"/>
                    <a:pt x="570811" y="230557"/>
                    <a:pt x="575953" y="210273"/>
                  </a:cubicBezTo>
                  <a:cubicBezTo>
                    <a:pt x="590524" y="151135"/>
                    <a:pt x="605665" y="138279"/>
                    <a:pt x="607094" y="99139"/>
                  </a:cubicBezTo>
                  <a:cubicBezTo>
                    <a:pt x="608522" y="55714"/>
                    <a:pt x="591381" y="23431"/>
                    <a:pt x="589666" y="23716"/>
                  </a:cubicBezTo>
                  <a:cubicBezTo>
                    <a:pt x="587952" y="24002"/>
                    <a:pt x="601951" y="61999"/>
                    <a:pt x="591666" y="108281"/>
                  </a:cubicBezTo>
                  <a:cubicBezTo>
                    <a:pt x="585953" y="134279"/>
                    <a:pt x="572811" y="161420"/>
                    <a:pt x="565954" y="159991"/>
                  </a:cubicBezTo>
                  <a:cubicBezTo>
                    <a:pt x="560812" y="158848"/>
                    <a:pt x="561383" y="140850"/>
                    <a:pt x="560240" y="123423"/>
                  </a:cubicBezTo>
                  <a:cubicBezTo>
                    <a:pt x="557098" y="58285"/>
                    <a:pt x="535385" y="-567"/>
                    <a:pt x="529671" y="4"/>
                  </a:cubicBezTo>
                  <a:cubicBezTo>
                    <a:pt x="521958" y="861"/>
                    <a:pt x="541670" y="112566"/>
                    <a:pt x="532814" y="248841"/>
                  </a:cubicBezTo>
                  <a:cubicBezTo>
                    <a:pt x="520815" y="429112"/>
                    <a:pt x="514815" y="519391"/>
                    <a:pt x="464248" y="570244"/>
                  </a:cubicBezTo>
                  <a:cubicBezTo>
                    <a:pt x="385112" y="649951"/>
                    <a:pt x="273406" y="591956"/>
                    <a:pt x="0" y="595670"/>
                  </a:cubicBezTo>
                  <a:cubicBezTo>
                    <a:pt x="48853" y="609669"/>
                    <a:pt x="129418" y="618240"/>
                    <a:pt x="247980" y="630524"/>
                  </a:cubicBezTo>
                  <a:cubicBezTo>
                    <a:pt x="331116" y="639381"/>
                    <a:pt x="386826" y="645095"/>
                    <a:pt x="464534" y="639095"/>
                  </a:cubicBezTo>
                  <a:cubicBezTo>
                    <a:pt x="607665" y="627668"/>
                    <a:pt x="628806" y="591099"/>
                    <a:pt x="695372" y="607383"/>
                  </a:cubicBezTo>
                  <a:cubicBezTo>
                    <a:pt x="757939" y="622811"/>
                    <a:pt x="789936" y="667379"/>
                    <a:pt x="815934" y="709947"/>
                  </a:cubicBezTo>
                  <a:cubicBezTo>
                    <a:pt x="939924" y="682235"/>
                    <a:pt x="1064200" y="647380"/>
                    <a:pt x="1135908" y="626239"/>
                  </a:cubicBezTo>
                  <a:cubicBezTo>
                    <a:pt x="1187047" y="554245"/>
                    <a:pt x="1230472" y="465966"/>
                    <a:pt x="1249613" y="376259"/>
                  </a:cubicBezTo>
                  <a:close/>
                </a:path>
              </a:pathLst>
            </a:custGeom>
            <a:solidFill>
              <a:srgbClr val="2A3E33">
                <a:alpha val="94000"/>
              </a:srgbClr>
            </a:solidFill>
            <a:ln w="2850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22" name="Freeform: Shape 1321">
              <a:extLst>
                <a:ext uri="{FF2B5EF4-FFF2-40B4-BE49-F238E27FC236}">
                  <a16:creationId xmlns:a16="http://schemas.microsoft.com/office/drawing/2014/main" id="{ED388B58-1958-4B8C-80AF-209CCB449FAE}"/>
                </a:ext>
              </a:extLst>
            </p:cNvPr>
            <p:cNvSpPr/>
            <p:nvPr/>
          </p:nvSpPr>
          <p:spPr>
            <a:xfrm>
              <a:off x="7868435" y="3604712"/>
              <a:ext cx="644382" cy="731026"/>
            </a:xfrm>
            <a:custGeom>
              <a:avLst/>
              <a:gdLst>
                <a:gd name="connsiteX0" fmla="*/ 58628 w 644382"/>
                <a:gd name="connsiteY0" fmla="*/ 268 h 731026"/>
                <a:gd name="connsiteX1" fmla="*/ 116909 w 644382"/>
                <a:gd name="connsiteY1" fmla="*/ 115116 h 731026"/>
                <a:gd name="connsiteX2" fmla="*/ 236327 w 644382"/>
                <a:gd name="connsiteY2" fmla="*/ 269675 h 731026"/>
                <a:gd name="connsiteX3" fmla="*/ 644009 w 644382"/>
                <a:gd name="connsiteY3" fmla="*/ 359954 h 731026"/>
                <a:gd name="connsiteX4" fmla="*/ 297465 w 644382"/>
                <a:gd name="connsiteY4" fmla="*/ 692498 h 731026"/>
                <a:gd name="connsiteX5" fmla="*/ 238613 w 644382"/>
                <a:gd name="connsiteY5" fmla="*/ 695641 h 731026"/>
                <a:gd name="connsiteX6" fmla="*/ 41486 w 644382"/>
                <a:gd name="connsiteY6" fmla="*/ 667071 h 731026"/>
                <a:gd name="connsiteX7" fmla="*/ 237756 w 644382"/>
                <a:gd name="connsiteY7" fmla="*/ 626503 h 731026"/>
                <a:gd name="connsiteX8" fmla="*/ 312893 w 644382"/>
                <a:gd name="connsiteY8" fmla="*/ 481944 h 731026"/>
                <a:gd name="connsiteX9" fmla="*/ 407171 w 644382"/>
                <a:gd name="connsiteY9" fmla="*/ 401664 h 731026"/>
                <a:gd name="connsiteX10" fmla="*/ 111195 w 644382"/>
                <a:gd name="connsiteY10" fmla="*/ 443090 h 731026"/>
                <a:gd name="connsiteX11" fmla="*/ 14060 w 644382"/>
                <a:gd name="connsiteY11" fmla="*/ 130258 h 731026"/>
                <a:gd name="connsiteX12" fmla="*/ 58628 w 644382"/>
                <a:gd name="connsiteY12" fmla="*/ 268 h 7310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644382" h="731026">
                  <a:moveTo>
                    <a:pt x="58628" y="268"/>
                  </a:moveTo>
                  <a:cubicBezTo>
                    <a:pt x="58628" y="268"/>
                    <a:pt x="87482" y="-11159"/>
                    <a:pt x="116909" y="115116"/>
                  </a:cubicBezTo>
                  <a:cubicBezTo>
                    <a:pt x="146335" y="241392"/>
                    <a:pt x="154334" y="267104"/>
                    <a:pt x="236327" y="269675"/>
                  </a:cubicBezTo>
                  <a:cubicBezTo>
                    <a:pt x="318321" y="271961"/>
                    <a:pt x="638866" y="261961"/>
                    <a:pt x="644009" y="359954"/>
                  </a:cubicBezTo>
                  <a:cubicBezTo>
                    <a:pt x="649151" y="457946"/>
                    <a:pt x="604583" y="548795"/>
                    <a:pt x="297465" y="692498"/>
                  </a:cubicBezTo>
                  <a:cubicBezTo>
                    <a:pt x="297465" y="692498"/>
                    <a:pt x="264325" y="684499"/>
                    <a:pt x="238613" y="695641"/>
                  </a:cubicBezTo>
                  <a:cubicBezTo>
                    <a:pt x="212901" y="706783"/>
                    <a:pt x="140050" y="784205"/>
                    <a:pt x="41486" y="667071"/>
                  </a:cubicBezTo>
                  <a:lnTo>
                    <a:pt x="237756" y="626503"/>
                  </a:lnTo>
                  <a:cubicBezTo>
                    <a:pt x="237756" y="626503"/>
                    <a:pt x="217186" y="532797"/>
                    <a:pt x="312893" y="481944"/>
                  </a:cubicBezTo>
                  <a:cubicBezTo>
                    <a:pt x="408599" y="431091"/>
                    <a:pt x="407171" y="401664"/>
                    <a:pt x="407171" y="401664"/>
                  </a:cubicBezTo>
                  <a:cubicBezTo>
                    <a:pt x="407171" y="401664"/>
                    <a:pt x="276610" y="477087"/>
                    <a:pt x="111195" y="443090"/>
                  </a:cubicBezTo>
                  <a:cubicBezTo>
                    <a:pt x="-54506" y="409092"/>
                    <a:pt x="14060" y="130258"/>
                    <a:pt x="14060" y="130258"/>
                  </a:cubicBezTo>
                  <a:cubicBezTo>
                    <a:pt x="14060" y="130258"/>
                    <a:pt x="32058" y="60549"/>
                    <a:pt x="58628" y="268"/>
                  </a:cubicBezTo>
                  <a:close/>
                </a:path>
              </a:pathLst>
            </a:custGeom>
            <a:solidFill>
              <a:srgbClr val="73D927"/>
            </a:solidFill>
            <a:ln w="2850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23" name="Freeform: Shape 1322">
              <a:extLst>
                <a:ext uri="{FF2B5EF4-FFF2-40B4-BE49-F238E27FC236}">
                  <a16:creationId xmlns:a16="http://schemas.microsoft.com/office/drawing/2014/main" id="{94DC4E0C-8AD7-4BAB-8B61-20BB91060134}"/>
                </a:ext>
              </a:extLst>
            </p:cNvPr>
            <p:cNvSpPr/>
            <p:nvPr/>
          </p:nvSpPr>
          <p:spPr>
            <a:xfrm>
              <a:off x="9461435" y="3605432"/>
              <a:ext cx="447125" cy="1058937"/>
            </a:xfrm>
            <a:custGeom>
              <a:avLst/>
              <a:gdLst>
                <a:gd name="connsiteX0" fmla="*/ 428041 w 447125"/>
                <a:gd name="connsiteY0" fmla="*/ 199818 h 1058937"/>
                <a:gd name="connsiteX1" fmla="*/ 438611 w 447125"/>
                <a:gd name="connsiteY1" fmla="*/ 520364 h 1058937"/>
                <a:gd name="connsiteX2" fmla="*/ 409471 w 447125"/>
                <a:gd name="connsiteY2" fmla="*/ 656353 h 1058937"/>
                <a:gd name="connsiteX3" fmla="*/ 365760 w 447125"/>
                <a:gd name="connsiteY3" fmla="*/ 791485 h 1058937"/>
                <a:gd name="connsiteX4" fmla="*/ 301479 w 447125"/>
                <a:gd name="connsiteY4" fmla="*/ 876621 h 1058937"/>
                <a:gd name="connsiteX5" fmla="*/ 244627 w 447125"/>
                <a:gd name="connsiteY5" fmla="*/ 966899 h 1058937"/>
                <a:gd name="connsiteX6" fmla="*/ 222343 w 447125"/>
                <a:gd name="connsiteY6" fmla="*/ 917760 h 1058937"/>
                <a:gd name="connsiteX7" fmla="*/ 168633 w 447125"/>
                <a:gd name="connsiteY7" fmla="*/ 1017752 h 1058937"/>
                <a:gd name="connsiteX8" fmla="*/ 225200 w 447125"/>
                <a:gd name="connsiteY8" fmla="*/ 1040607 h 1058937"/>
                <a:gd name="connsiteX9" fmla="*/ 117780 w 447125"/>
                <a:gd name="connsiteY9" fmla="*/ 1052321 h 1058937"/>
                <a:gd name="connsiteX10" fmla="*/ 361 w 447125"/>
                <a:gd name="connsiteY10" fmla="*/ 874049 h 1058937"/>
                <a:gd name="connsiteX11" fmla="*/ 162062 w 447125"/>
                <a:gd name="connsiteY11" fmla="*/ 648068 h 1058937"/>
                <a:gd name="connsiteX12" fmla="*/ 208344 w 447125"/>
                <a:gd name="connsiteY12" fmla="*/ 306381 h 1058937"/>
                <a:gd name="connsiteX13" fmla="*/ 196345 w 447125"/>
                <a:gd name="connsiteY13" fmla="*/ 75828 h 1058937"/>
                <a:gd name="connsiteX14" fmla="*/ 356332 w 447125"/>
                <a:gd name="connsiteY14" fmla="*/ 406 h 1058937"/>
                <a:gd name="connsiteX15" fmla="*/ 442325 w 447125"/>
                <a:gd name="connsiteY15" fmla="*/ 116111 h 10589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47125" h="1058937">
                  <a:moveTo>
                    <a:pt x="428041" y="199818"/>
                  </a:moveTo>
                  <a:cubicBezTo>
                    <a:pt x="428041" y="199818"/>
                    <a:pt x="422327" y="462368"/>
                    <a:pt x="438611" y="520364"/>
                  </a:cubicBezTo>
                  <a:cubicBezTo>
                    <a:pt x="454610" y="578645"/>
                    <a:pt x="449753" y="608357"/>
                    <a:pt x="409471" y="656353"/>
                  </a:cubicBezTo>
                  <a:cubicBezTo>
                    <a:pt x="369474" y="704349"/>
                    <a:pt x="365760" y="791485"/>
                    <a:pt x="365760" y="791485"/>
                  </a:cubicBezTo>
                  <a:cubicBezTo>
                    <a:pt x="365760" y="791485"/>
                    <a:pt x="322049" y="800341"/>
                    <a:pt x="301479" y="876621"/>
                  </a:cubicBezTo>
                  <a:cubicBezTo>
                    <a:pt x="280910" y="953186"/>
                    <a:pt x="244627" y="966899"/>
                    <a:pt x="244627" y="966899"/>
                  </a:cubicBezTo>
                  <a:cubicBezTo>
                    <a:pt x="241770" y="933759"/>
                    <a:pt x="239770" y="922903"/>
                    <a:pt x="222343" y="917760"/>
                  </a:cubicBezTo>
                  <a:cubicBezTo>
                    <a:pt x="204916" y="912618"/>
                    <a:pt x="163205" y="987183"/>
                    <a:pt x="168633" y="1017752"/>
                  </a:cubicBezTo>
                  <a:cubicBezTo>
                    <a:pt x="174061" y="1048321"/>
                    <a:pt x="225200" y="1040607"/>
                    <a:pt x="225200" y="1040607"/>
                  </a:cubicBezTo>
                  <a:cubicBezTo>
                    <a:pt x="225200" y="1040607"/>
                    <a:pt x="183775" y="1072319"/>
                    <a:pt x="117780" y="1052321"/>
                  </a:cubicBezTo>
                  <a:cubicBezTo>
                    <a:pt x="51500" y="1032322"/>
                    <a:pt x="-5067" y="1003467"/>
                    <a:pt x="361" y="874049"/>
                  </a:cubicBezTo>
                  <a:cubicBezTo>
                    <a:pt x="6075" y="744631"/>
                    <a:pt x="162062" y="648068"/>
                    <a:pt x="162062" y="648068"/>
                  </a:cubicBezTo>
                  <a:cubicBezTo>
                    <a:pt x="162062" y="648068"/>
                    <a:pt x="195202" y="434942"/>
                    <a:pt x="208344" y="306381"/>
                  </a:cubicBezTo>
                  <a:cubicBezTo>
                    <a:pt x="221486" y="177820"/>
                    <a:pt x="196345" y="75828"/>
                    <a:pt x="196345" y="75828"/>
                  </a:cubicBezTo>
                  <a:cubicBezTo>
                    <a:pt x="196345" y="75828"/>
                    <a:pt x="169205" y="-6451"/>
                    <a:pt x="356332" y="406"/>
                  </a:cubicBezTo>
                  <a:cubicBezTo>
                    <a:pt x="356332" y="406"/>
                    <a:pt x="396615" y="-1594"/>
                    <a:pt x="442325" y="116111"/>
                  </a:cubicBezTo>
                </a:path>
              </a:pathLst>
            </a:custGeom>
            <a:solidFill>
              <a:srgbClr val="73D927"/>
            </a:solidFill>
            <a:ln w="2850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24" name="Freeform: Shape 1323">
              <a:extLst>
                <a:ext uri="{FF2B5EF4-FFF2-40B4-BE49-F238E27FC236}">
                  <a16:creationId xmlns:a16="http://schemas.microsoft.com/office/drawing/2014/main" id="{22BC88FC-2669-49AE-9DDB-7AD216387FEF}"/>
                </a:ext>
              </a:extLst>
            </p:cNvPr>
            <p:cNvSpPr/>
            <p:nvPr/>
          </p:nvSpPr>
          <p:spPr>
            <a:xfrm>
              <a:off x="7932205" y="3604981"/>
              <a:ext cx="580065" cy="517386"/>
            </a:xfrm>
            <a:custGeom>
              <a:avLst/>
              <a:gdLst>
                <a:gd name="connsiteX0" fmla="*/ 172557 w 580065"/>
                <a:gd name="connsiteY0" fmla="*/ 269407 h 517386"/>
                <a:gd name="connsiteX1" fmla="*/ 53139 w 580065"/>
                <a:gd name="connsiteY1" fmla="*/ 114848 h 517386"/>
                <a:gd name="connsiteX2" fmla="*/ 0 w 580065"/>
                <a:gd name="connsiteY2" fmla="*/ 0 h 517386"/>
                <a:gd name="connsiteX3" fmla="*/ 29426 w 580065"/>
                <a:gd name="connsiteY3" fmla="*/ 163415 h 517386"/>
                <a:gd name="connsiteX4" fmla="*/ 24569 w 580065"/>
                <a:gd name="connsiteY4" fmla="*/ 308546 h 517386"/>
                <a:gd name="connsiteX5" fmla="*/ 221125 w 580065"/>
                <a:gd name="connsiteY5" fmla="*/ 305690 h 517386"/>
                <a:gd name="connsiteX6" fmla="*/ 416252 w 580065"/>
                <a:gd name="connsiteY6" fmla="*/ 359399 h 517386"/>
                <a:gd name="connsiteX7" fmla="*/ 380255 w 580065"/>
                <a:gd name="connsiteY7" fmla="*/ 393682 h 517386"/>
                <a:gd name="connsiteX8" fmla="*/ 319974 w 580065"/>
                <a:gd name="connsiteY8" fmla="*/ 437393 h 517386"/>
                <a:gd name="connsiteX9" fmla="*/ 224553 w 580065"/>
                <a:gd name="connsiteY9" fmla="*/ 497103 h 517386"/>
                <a:gd name="connsiteX10" fmla="*/ 203126 w 580065"/>
                <a:gd name="connsiteY10" fmla="*/ 517387 h 517386"/>
                <a:gd name="connsiteX11" fmla="*/ 271407 w 580065"/>
                <a:gd name="connsiteY11" fmla="*/ 491389 h 517386"/>
                <a:gd name="connsiteX12" fmla="*/ 408824 w 580065"/>
                <a:gd name="connsiteY12" fmla="*/ 441679 h 517386"/>
                <a:gd name="connsiteX13" fmla="*/ 494817 w 580065"/>
                <a:gd name="connsiteY13" fmla="*/ 393111 h 517386"/>
                <a:gd name="connsiteX14" fmla="*/ 558241 w 580065"/>
                <a:gd name="connsiteY14" fmla="*/ 417680 h 517386"/>
                <a:gd name="connsiteX15" fmla="*/ 573954 w 580065"/>
                <a:gd name="connsiteY15" fmla="*/ 421966 h 517386"/>
                <a:gd name="connsiteX16" fmla="*/ 579667 w 580065"/>
                <a:gd name="connsiteY16" fmla="*/ 359399 h 517386"/>
                <a:gd name="connsiteX17" fmla="*/ 172557 w 580065"/>
                <a:gd name="connsiteY17" fmla="*/ 269407 h 517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580065" h="517386">
                  <a:moveTo>
                    <a:pt x="172557" y="269407"/>
                  </a:moveTo>
                  <a:cubicBezTo>
                    <a:pt x="90564" y="267121"/>
                    <a:pt x="82565" y="241409"/>
                    <a:pt x="53139" y="114848"/>
                  </a:cubicBezTo>
                  <a:cubicBezTo>
                    <a:pt x="31140" y="20570"/>
                    <a:pt x="9428" y="2857"/>
                    <a:pt x="0" y="0"/>
                  </a:cubicBezTo>
                  <a:cubicBezTo>
                    <a:pt x="10856" y="33997"/>
                    <a:pt x="32855" y="79708"/>
                    <a:pt x="29426" y="163415"/>
                  </a:cubicBezTo>
                  <a:cubicBezTo>
                    <a:pt x="26284" y="246837"/>
                    <a:pt x="1143" y="282263"/>
                    <a:pt x="24569" y="308546"/>
                  </a:cubicBezTo>
                  <a:cubicBezTo>
                    <a:pt x="52282" y="339687"/>
                    <a:pt x="104563" y="310261"/>
                    <a:pt x="221125" y="305690"/>
                  </a:cubicBezTo>
                  <a:cubicBezTo>
                    <a:pt x="332830" y="301404"/>
                    <a:pt x="410253" y="321974"/>
                    <a:pt x="416252" y="359399"/>
                  </a:cubicBezTo>
                  <a:cubicBezTo>
                    <a:pt x="418538" y="373113"/>
                    <a:pt x="409110" y="371684"/>
                    <a:pt x="380255" y="393682"/>
                  </a:cubicBezTo>
                  <a:cubicBezTo>
                    <a:pt x="342829" y="422251"/>
                    <a:pt x="330545" y="430251"/>
                    <a:pt x="319974" y="437393"/>
                  </a:cubicBezTo>
                  <a:cubicBezTo>
                    <a:pt x="281691" y="462248"/>
                    <a:pt x="252837" y="482818"/>
                    <a:pt x="224553" y="497103"/>
                  </a:cubicBezTo>
                  <a:cubicBezTo>
                    <a:pt x="216268" y="503673"/>
                    <a:pt x="209126" y="510244"/>
                    <a:pt x="203126" y="517387"/>
                  </a:cubicBezTo>
                  <a:cubicBezTo>
                    <a:pt x="219697" y="510816"/>
                    <a:pt x="242552" y="501959"/>
                    <a:pt x="271407" y="491389"/>
                  </a:cubicBezTo>
                  <a:cubicBezTo>
                    <a:pt x="375113" y="453963"/>
                    <a:pt x="376827" y="461391"/>
                    <a:pt x="408824" y="441679"/>
                  </a:cubicBezTo>
                  <a:cubicBezTo>
                    <a:pt x="452821" y="414538"/>
                    <a:pt x="463677" y="391397"/>
                    <a:pt x="494817" y="393111"/>
                  </a:cubicBezTo>
                  <a:cubicBezTo>
                    <a:pt x="517387" y="394254"/>
                    <a:pt x="522529" y="406824"/>
                    <a:pt x="558241" y="417680"/>
                  </a:cubicBezTo>
                  <a:cubicBezTo>
                    <a:pt x="562526" y="419109"/>
                    <a:pt x="568240" y="420537"/>
                    <a:pt x="573954" y="421966"/>
                  </a:cubicBezTo>
                  <a:cubicBezTo>
                    <a:pt x="579667" y="401110"/>
                    <a:pt x="580810" y="380255"/>
                    <a:pt x="579667" y="359399"/>
                  </a:cubicBezTo>
                  <a:cubicBezTo>
                    <a:pt x="575096" y="261693"/>
                    <a:pt x="254551" y="271692"/>
                    <a:pt x="172557" y="269407"/>
                  </a:cubicBezTo>
                  <a:close/>
                </a:path>
              </a:pathLst>
            </a:custGeom>
            <a:solidFill>
              <a:srgbClr val="85FC2D"/>
            </a:solidFill>
            <a:ln w="2850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25" name="Freeform: Shape 1324">
              <a:extLst>
                <a:ext uri="{FF2B5EF4-FFF2-40B4-BE49-F238E27FC236}">
                  <a16:creationId xmlns:a16="http://schemas.microsoft.com/office/drawing/2014/main" id="{695EA2E9-99ED-4339-824D-C51EFCD3CB11}"/>
                </a:ext>
              </a:extLst>
            </p:cNvPr>
            <p:cNvSpPr/>
            <p:nvPr/>
          </p:nvSpPr>
          <p:spPr>
            <a:xfrm>
              <a:off x="7909350" y="4079220"/>
              <a:ext cx="554812" cy="256111"/>
            </a:xfrm>
            <a:custGeom>
              <a:avLst/>
              <a:gdLst>
                <a:gd name="connsiteX0" fmla="*/ 554812 w 554812"/>
                <a:gd name="connsiteY0" fmla="*/ 25434 h 256111"/>
                <a:gd name="connsiteX1" fmla="*/ 461391 w 554812"/>
                <a:gd name="connsiteY1" fmla="*/ 2579 h 256111"/>
                <a:gd name="connsiteX2" fmla="*/ 420823 w 554812"/>
                <a:gd name="connsiteY2" fmla="*/ 44004 h 256111"/>
                <a:gd name="connsiteX3" fmla="*/ 227124 w 554812"/>
                <a:gd name="connsiteY3" fmla="*/ 165423 h 256111"/>
                <a:gd name="connsiteX4" fmla="*/ 106849 w 554812"/>
                <a:gd name="connsiteY4" fmla="*/ 217419 h 256111"/>
                <a:gd name="connsiteX5" fmla="*/ 51424 w 554812"/>
                <a:gd name="connsiteY5" fmla="*/ 181707 h 256111"/>
                <a:gd name="connsiteX6" fmla="*/ 0 w 554812"/>
                <a:gd name="connsiteY6" fmla="*/ 192278 h 256111"/>
                <a:gd name="connsiteX7" fmla="*/ 197127 w 554812"/>
                <a:gd name="connsiteY7" fmla="*/ 220847 h 256111"/>
                <a:gd name="connsiteX8" fmla="*/ 255979 w 554812"/>
                <a:gd name="connsiteY8" fmla="*/ 217705 h 256111"/>
                <a:gd name="connsiteX9" fmla="*/ 554812 w 554812"/>
                <a:gd name="connsiteY9" fmla="*/ 25434 h 2561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54812" h="256111">
                  <a:moveTo>
                    <a:pt x="554812" y="25434"/>
                  </a:moveTo>
                  <a:cubicBezTo>
                    <a:pt x="523386" y="21149"/>
                    <a:pt x="495103" y="-8849"/>
                    <a:pt x="461391" y="2579"/>
                  </a:cubicBezTo>
                  <a:cubicBezTo>
                    <a:pt x="441964" y="9150"/>
                    <a:pt x="435393" y="24292"/>
                    <a:pt x="420823" y="44004"/>
                  </a:cubicBezTo>
                  <a:cubicBezTo>
                    <a:pt x="395682" y="77716"/>
                    <a:pt x="380541" y="79144"/>
                    <a:pt x="227124" y="165423"/>
                  </a:cubicBezTo>
                  <a:cubicBezTo>
                    <a:pt x="140274" y="214276"/>
                    <a:pt x="128561" y="223418"/>
                    <a:pt x="106849" y="217419"/>
                  </a:cubicBezTo>
                  <a:cubicBezTo>
                    <a:pt x="84850" y="211419"/>
                    <a:pt x="70566" y="194849"/>
                    <a:pt x="51424" y="181707"/>
                  </a:cubicBezTo>
                  <a:lnTo>
                    <a:pt x="0" y="192278"/>
                  </a:lnTo>
                  <a:cubicBezTo>
                    <a:pt x="98563" y="309126"/>
                    <a:pt x="171700" y="231989"/>
                    <a:pt x="197127" y="220847"/>
                  </a:cubicBezTo>
                  <a:cubicBezTo>
                    <a:pt x="222839" y="209705"/>
                    <a:pt x="255979" y="217705"/>
                    <a:pt x="255979" y="217705"/>
                  </a:cubicBezTo>
                  <a:cubicBezTo>
                    <a:pt x="418823" y="141996"/>
                    <a:pt x="507959" y="80858"/>
                    <a:pt x="554812" y="25434"/>
                  </a:cubicBezTo>
                  <a:close/>
                </a:path>
              </a:pathLst>
            </a:custGeom>
            <a:solidFill>
              <a:srgbClr val="61B521"/>
            </a:solidFill>
            <a:ln w="2850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26" name="Freeform: Shape 1325">
              <a:extLst>
                <a:ext uri="{FF2B5EF4-FFF2-40B4-BE49-F238E27FC236}">
                  <a16:creationId xmlns:a16="http://schemas.microsoft.com/office/drawing/2014/main" id="{CF008E3A-187C-41B6-A58F-402D45376090}"/>
                </a:ext>
              </a:extLst>
            </p:cNvPr>
            <p:cNvSpPr/>
            <p:nvPr/>
          </p:nvSpPr>
          <p:spPr>
            <a:xfrm>
              <a:off x="9460843" y="3732970"/>
              <a:ext cx="252519" cy="849359"/>
            </a:xfrm>
            <a:custGeom>
              <a:avLst/>
              <a:gdLst>
                <a:gd name="connsiteX0" fmla="*/ 205508 w 252519"/>
                <a:gd name="connsiteY0" fmla="*/ 0 h 849359"/>
                <a:gd name="connsiteX1" fmla="*/ 208364 w 252519"/>
                <a:gd name="connsiteY1" fmla="*/ 178843 h 849359"/>
                <a:gd name="connsiteX2" fmla="*/ 162082 w 252519"/>
                <a:gd name="connsiteY2" fmla="*/ 520529 h 849359"/>
                <a:gd name="connsiteX3" fmla="*/ 381 w 252519"/>
                <a:gd name="connsiteY3" fmla="*/ 746511 h 849359"/>
                <a:gd name="connsiteX4" fmla="*/ 15237 w 252519"/>
                <a:gd name="connsiteY4" fmla="*/ 849360 h 849359"/>
                <a:gd name="connsiteX5" fmla="*/ 57520 w 252519"/>
                <a:gd name="connsiteY5" fmla="*/ 643948 h 849359"/>
                <a:gd name="connsiteX6" fmla="*/ 158083 w 252519"/>
                <a:gd name="connsiteY6" fmla="*/ 542813 h 849359"/>
                <a:gd name="connsiteX7" fmla="*/ 220649 w 252519"/>
                <a:gd name="connsiteY7" fmla="*/ 470819 h 849359"/>
                <a:gd name="connsiteX8" fmla="*/ 238076 w 252519"/>
                <a:gd name="connsiteY8" fmla="*/ 140560 h 849359"/>
                <a:gd name="connsiteX9" fmla="*/ 248361 w 252519"/>
                <a:gd name="connsiteY9" fmla="*/ 51424 h 849359"/>
                <a:gd name="connsiteX10" fmla="*/ 205508 w 252519"/>
                <a:gd name="connsiteY10" fmla="*/ 0 h 8493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52519" h="849359">
                  <a:moveTo>
                    <a:pt x="205508" y="0"/>
                  </a:moveTo>
                  <a:cubicBezTo>
                    <a:pt x="210936" y="41997"/>
                    <a:pt x="215792" y="106277"/>
                    <a:pt x="208364" y="178843"/>
                  </a:cubicBezTo>
                  <a:cubicBezTo>
                    <a:pt x="195223" y="307404"/>
                    <a:pt x="162082" y="520529"/>
                    <a:pt x="162082" y="520529"/>
                  </a:cubicBezTo>
                  <a:cubicBezTo>
                    <a:pt x="162082" y="520529"/>
                    <a:pt x="6095" y="617093"/>
                    <a:pt x="381" y="746511"/>
                  </a:cubicBezTo>
                  <a:cubicBezTo>
                    <a:pt x="-1618" y="791936"/>
                    <a:pt x="4381" y="824790"/>
                    <a:pt x="15237" y="849360"/>
                  </a:cubicBezTo>
                  <a:cubicBezTo>
                    <a:pt x="13237" y="795650"/>
                    <a:pt x="4952" y="710514"/>
                    <a:pt x="57520" y="643948"/>
                  </a:cubicBezTo>
                  <a:cubicBezTo>
                    <a:pt x="78089" y="618236"/>
                    <a:pt x="94088" y="612236"/>
                    <a:pt x="158083" y="542813"/>
                  </a:cubicBezTo>
                  <a:cubicBezTo>
                    <a:pt x="195223" y="502245"/>
                    <a:pt x="213792" y="482247"/>
                    <a:pt x="220649" y="470819"/>
                  </a:cubicBezTo>
                  <a:cubicBezTo>
                    <a:pt x="278930" y="373113"/>
                    <a:pt x="198937" y="301118"/>
                    <a:pt x="238076" y="140560"/>
                  </a:cubicBezTo>
                  <a:cubicBezTo>
                    <a:pt x="247790" y="100849"/>
                    <a:pt x="258646" y="79994"/>
                    <a:pt x="248361" y="51424"/>
                  </a:cubicBezTo>
                  <a:cubicBezTo>
                    <a:pt x="241219" y="30855"/>
                    <a:pt x="225220" y="13428"/>
                    <a:pt x="205508" y="0"/>
                  </a:cubicBezTo>
                  <a:close/>
                </a:path>
              </a:pathLst>
            </a:custGeom>
            <a:solidFill>
              <a:srgbClr val="61B521"/>
            </a:solidFill>
            <a:ln w="2850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27" name="Freeform: Shape 1326">
              <a:extLst>
                <a:ext uri="{FF2B5EF4-FFF2-40B4-BE49-F238E27FC236}">
                  <a16:creationId xmlns:a16="http://schemas.microsoft.com/office/drawing/2014/main" id="{8E4E7603-1048-49CD-8D63-25DBB6D4D3DC}"/>
                </a:ext>
              </a:extLst>
            </p:cNvPr>
            <p:cNvSpPr/>
            <p:nvPr/>
          </p:nvSpPr>
          <p:spPr>
            <a:xfrm>
              <a:off x="7695643" y="3102008"/>
              <a:ext cx="2394959" cy="685528"/>
            </a:xfrm>
            <a:custGeom>
              <a:avLst/>
              <a:gdLst>
                <a:gd name="connsiteX0" fmla="*/ 2062700 w 2394959"/>
                <a:gd name="connsiteY0" fmla="*/ 342985 h 685528"/>
                <a:gd name="connsiteX1" fmla="*/ 699668 w 2394959"/>
                <a:gd name="connsiteY1" fmla="*/ 24725 h 685528"/>
                <a:gd name="connsiteX2" fmla="*/ 101716 w 2394959"/>
                <a:gd name="connsiteY2" fmla="*/ 340986 h 685528"/>
                <a:gd name="connsiteX3" fmla="*/ 6581 w 2394959"/>
                <a:gd name="connsiteY3" fmla="*/ 306703 h 685528"/>
                <a:gd name="connsiteX4" fmla="*/ 10 w 2394959"/>
                <a:gd name="connsiteY4" fmla="*/ 301560 h 685528"/>
                <a:gd name="connsiteX5" fmla="*/ 17437 w 2394959"/>
                <a:gd name="connsiteY5" fmla="*/ 355270 h 685528"/>
                <a:gd name="connsiteX6" fmla="*/ 163426 w 2394959"/>
                <a:gd name="connsiteY6" fmla="*/ 391839 h 685528"/>
                <a:gd name="connsiteX7" fmla="*/ 546823 w 2394959"/>
                <a:gd name="connsiteY7" fmla="*/ 204997 h 685528"/>
                <a:gd name="connsiteX8" fmla="*/ 1288763 w 2394959"/>
                <a:gd name="connsiteY8" fmla="*/ 107576 h 685528"/>
                <a:gd name="connsiteX9" fmla="*/ 2394959 w 2394959"/>
                <a:gd name="connsiteY9" fmla="*/ 685529 h 685528"/>
                <a:gd name="connsiteX10" fmla="*/ 2062700 w 2394959"/>
                <a:gd name="connsiteY10" fmla="*/ 342985 h 6855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394959" h="685528">
                  <a:moveTo>
                    <a:pt x="2062700" y="342985"/>
                  </a:moveTo>
                  <a:cubicBezTo>
                    <a:pt x="1607309" y="-7272"/>
                    <a:pt x="1001358" y="-34984"/>
                    <a:pt x="699668" y="24725"/>
                  </a:cubicBezTo>
                  <a:cubicBezTo>
                    <a:pt x="397978" y="84721"/>
                    <a:pt x="188566" y="311845"/>
                    <a:pt x="101716" y="340986"/>
                  </a:cubicBezTo>
                  <a:cubicBezTo>
                    <a:pt x="14866" y="370126"/>
                    <a:pt x="36864" y="319844"/>
                    <a:pt x="6581" y="306703"/>
                  </a:cubicBezTo>
                  <a:cubicBezTo>
                    <a:pt x="4010" y="305560"/>
                    <a:pt x="2010" y="303846"/>
                    <a:pt x="10" y="301560"/>
                  </a:cubicBezTo>
                  <a:cubicBezTo>
                    <a:pt x="-275" y="316702"/>
                    <a:pt x="5438" y="338986"/>
                    <a:pt x="17437" y="355270"/>
                  </a:cubicBezTo>
                  <a:cubicBezTo>
                    <a:pt x="51720" y="401838"/>
                    <a:pt x="133428" y="394695"/>
                    <a:pt x="163426" y="391839"/>
                  </a:cubicBezTo>
                  <a:cubicBezTo>
                    <a:pt x="336269" y="376697"/>
                    <a:pt x="494542" y="243851"/>
                    <a:pt x="546823" y="204997"/>
                  </a:cubicBezTo>
                  <a:cubicBezTo>
                    <a:pt x="737950" y="62437"/>
                    <a:pt x="973074" y="81578"/>
                    <a:pt x="1288763" y="107576"/>
                  </a:cubicBezTo>
                  <a:cubicBezTo>
                    <a:pt x="1832433" y="152429"/>
                    <a:pt x="2194690" y="524685"/>
                    <a:pt x="2394959" y="685529"/>
                  </a:cubicBezTo>
                  <a:cubicBezTo>
                    <a:pt x="2306680" y="566681"/>
                    <a:pt x="2196689" y="446120"/>
                    <a:pt x="2062700" y="342985"/>
                  </a:cubicBezTo>
                  <a:close/>
                </a:path>
              </a:pathLst>
            </a:custGeom>
            <a:solidFill>
              <a:srgbClr val="73D927"/>
            </a:solidFill>
            <a:ln w="2850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grpSp>
          <p:nvGrpSpPr>
            <p:cNvPr id="1328" name="Graphic 1287">
              <a:extLst>
                <a:ext uri="{FF2B5EF4-FFF2-40B4-BE49-F238E27FC236}">
                  <a16:creationId xmlns:a16="http://schemas.microsoft.com/office/drawing/2014/main" id="{3AF0CC9A-49BC-41AD-A10C-81F1C9646867}"/>
                </a:ext>
              </a:extLst>
            </p:cNvPr>
            <p:cNvGrpSpPr/>
            <p:nvPr/>
          </p:nvGrpSpPr>
          <p:grpSpPr>
            <a:xfrm>
              <a:off x="7014342" y="3563341"/>
              <a:ext cx="418790" cy="386662"/>
              <a:chOff x="7014342" y="3563341"/>
              <a:chExt cx="418790" cy="386662"/>
            </a:xfrm>
            <a:solidFill>
              <a:srgbClr val="FFDDF3"/>
            </a:solidFill>
          </p:grpSpPr>
          <p:sp>
            <p:nvSpPr>
              <p:cNvPr id="1329" name="Freeform: Shape 1328">
                <a:extLst>
                  <a:ext uri="{FF2B5EF4-FFF2-40B4-BE49-F238E27FC236}">
                    <a16:creationId xmlns:a16="http://schemas.microsoft.com/office/drawing/2014/main" id="{2A08DE5E-DE1E-4D84-9DCF-3278F7A48099}"/>
                  </a:ext>
                </a:extLst>
              </p:cNvPr>
              <p:cNvSpPr/>
              <p:nvPr/>
            </p:nvSpPr>
            <p:spPr>
              <a:xfrm>
                <a:off x="7099987" y="3563341"/>
                <a:ext cx="293404" cy="63923"/>
              </a:xfrm>
              <a:custGeom>
                <a:avLst/>
                <a:gdLst>
                  <a:gd name="connsiteX0" fmla="*/ 293405 w 293404"/>
                  <a:gd name="connsiteY0" fmla="*/ 63923 h 63923"/>
                  <a:gd name="connsiteX1" fmla="*/ 229696 w 293404"/>
                  <a:gd name="connsiteY1" fmla="*/ 19070 h 63923"/>
                  <a:gd name="connsiteX2" fmla="*/ 153130 w 293404"/>
                  <a:gd name="connsiteY2" fmla="*/ 3071 h 63923"/>
                  <a:gd name="connsiteX3" fmla="*/ 74280 w 293404"/>
                  <a:gd name="connsiteY3" fmla="*/ 5928 h 63923"/>
                  <a:gd name="connsiteX4" fmla="*/ 286 w 293404"/>
                  <a:gd name="connsiteY4" fmla="*/ 31069 h 63923"/>
                  <a:gd name="connsiteX5" fmla="*/ 0 w 293404"/>
                  <a:gd name="connsiteY5" fmla="*/ 30783 h 63923"/>
                  <a:gd name="connsiteX6" fmla="*/ 73708 w 293404"/>
                  <a:gd name="connsiteY6" fmla="*/ 2500 h 63923"/>
                  <a:gd name="connsiteX7" fmla="*/ 153130 w 293404"/>
                  <a:gd name="connsiteY7" fmla="*/ 1357 h 63923"/>
                  <a:gd name="connsiteX8" fmla="*/ 230838 w 293404"/>
                  <a:gd name="connsiteY8" fmla="*/ 16784 h 63923"/>
                  <a:gd name="connsiteX9" fmla="*/ 293405 w 293404"/>
                  <a:gd name="connsiteY9" fmla="*/ 63923 h 63923"/>
                  <a:gd name="connsiteX10" fmla="*/ 293405 w 293404"/>
                  <a:gd name="connsiteY10" fmla="*/ 63923 h 639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293404" h="63923">
                    <a:moveTo>
                      <a:pt x="293405" y="63923"/>
                    </a:moveTo>
                    <a:cubicBezTo>
                      <a:pt x="275406" y="44496"/>
                      <a:pt x="253694" y="29069"/>
                      <a:pt x="229696" y="19070"/>
                    </a:cubicBezTo>
                    <a:cubicBezTo>
                      <a:pt x="205698" y="7928"/>
                      <a:pt x="179414" y="3357"/>
                      <a:pt x="153130" y="3071"/>
                    </a:cubicBezTo>
                    <a:cubicBezTo>
                      <a:pt x="126847" y="2785"/>
                      <a:pt x="100278" y="2785"/>
                      <a:pt x="74280" y="5928"/>
                    </a:cubicBezTo>
                    <a:cubicBezTo>
                      <a:pt x="48282" y="9356"/>
                      <a:pt x="22855" y="16784"/>
                      <a:pt x="286" y="31069"/>
                    </a:cubicBezTo>
                    <a:lnTo>
                      <a:pt x="0" y="30783"/>
                    </a:lnTo>
                    <a:cubicBezTo>
                      <a:pt x="21427" y="15070"/>
                      <a:pt x="47425" y="6214"/>
                      <a:pt x="73708" y="2500"/>
                    </a:cubicBezTo>
                    <a:cubicBezTo>
                      <a:pt x="99992" y="-1214"/>
                      <a:pt x="126561" y="-71"/>
                      <a:pt x="153130" y="1357"/>
                    </a:cubicBezTo>
                    <a:cubicBezTo>
                      <a:pt x="179414" y="3071"/>
                      <a:pt x="205983" y="7071"/>
                      <a:pt x="230838" y="16784"/>
                    </a:cubicBezTo>
                    <a:cubicBezTo>
                      <a:pt x="255408" y="26212"/>
                      <a:pt x="277406" y="42782"/>
                      <a:pt x="293405" y="63923"/>
                    </a:cubicBezTo>
                    <a:lnTo>
                      <a:pt x="293405" y="63923"/>
                    </a:lnTo>
                    <a:close/>
                  </a:path>
                </a:pathLst>
              </a:custGeom>
              <a:solidFill>
                <a:srgbClr val="FFDDF3"/>
              </a:solidFill>
              <a:ln w="2850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330" name="Freeform: Shape 1329">
                <a:extLst>
                  <a:ext uri="{FF2B5EF4-FFF2-40B4-BE49-F238E27FC236}">
                    <a16:creationId xmlns:a16="http://schemas.microsoft.com/office/drawing/2014/main" id="{D20CEB37-146C-4713-8927-19C479B700B4}"/>
                  </a:ext>
                </a:extLst>
              </p:cNvPr>
              <p:cNvSpPr/>
              <p:nvPr/>
            </p:nvSpPr>
            <p:spPr>
              <a:xfrm>
                <a:off x="7393106" y="3626693"/>
                <a:ext cx="40027" cy="155415"/>
              </a:xfrm>
              <a:custGeom>
                <a:avLst/>
                <a:gdLst>
                  <a:gd name="connsiteX0" fmla="*/ 34569 w 40027"/>
                  <a:gd name="connsiteY0" fmla="*/ 155416 h 155415"/>
                  <a:gd name="connsiteX1" fmla="*/ 37426 w 40027"/>
                  <a:gd name="connsiteY1" fmla="*/ 114562 h 155415"/>
                  <a:gd name="connsiteX2" fmla="*/ 33997 w 40027"/>
                  <a:gd name="connsiteY2" fmla="*/ 73994 h 155415"/>
                  <a:gd name="connsiteX3" fmla="*/ 0 w 40027"/>
                  <a:gd name="connsiteY3" fmla="*/ 286 h 155415"/>
                  <a:gd name="connsiteX4" fmla="*/ 286 w 40027"/>
                  <a:gd name="connsiteY4" fmla="*/ 0 h 155415"/>
                  <a:gd name="connsiteX5" fmla="*/ 35711 w 40027"/>
                  <a:gd name="connsiteY5" fmla="*/ 73423 h 155415"/>
                  <a:gd name="connsiteX6" fmla="*/ 39997 w 40027"/>
                  <a:gd name="connsiteY6" fmla="*/ 114276 h 155415"/>
                  <a:gd name="connsiteX7" fmla="*/ 34569 w 40027"/>
                  <a:gd name="connsiteY7" fmla="*/ 155130 h 155415"/>
                  <a:gd name="connsiteX8" fmla="*/ 34569 w 40027"/>
                  <a:gd name="connsiteY8" fmla="*/ 155416 h 1554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0027" h="155415">
                    <a:moveTo>
                      <a:pt x="34569" y="155416"/>
                    </a:moveTo>
                    <a:cubicBezTo>
                      <a:pt x="36283" y="141703"/>
                      <a:pt x="37140" y="128275"/>
                      <a:pt x="37426" y="114562"/>
                    </a:cubicBezTo>
                    <a:cubicBezTo>
                      <a:pt x="38283" y="100849"/>
                      <a:pt x="37426" y="87136"/>
                      <a:pt x="33997" y="73994"/>
                    </a:cubicBezTo>
                    <a:cubicBezTo>
                      <a:pt x="27141" y="47710"/>
                      <a:pt x="15999" y="22570"/>
                      <a:pt x="0" y="286"/>
                    </a:cubicBezTo>
                    <a:lnTo>
                      <a:pt x="286" y="0"/>
                    </a:lnTo>
                    <a:cubicBezTo>
                      <a:pt x="19713" y="19713"/>
                      <a:pt x="31140" y="46282"/>
                      <a:pt x="35711" y="73423"/>
                    </a:cubicBezTo>
                    <a:cubicBezTo>
                      <a:pt x="37426" y="87136"/>
                      <a:pt x="39425" y="100563"/>
                      <a:pt x="39997" y="114276"/>
                    </a:cubicBezTo>
                    <a:cubicBezTo>
                      <a:pt x="40282" y="127990"/>
                      <a:pt x="38568" y="141988"/>
                      <a:pt x="34569" y="155130"/>
                    </a:cubicBezTo>
                    <a:lnTo>
                      <a:pt x="34569" y="155416"/>
                    </a:lnTo>
                    <a:close/>
                  </a:path>
                </a:pathLst>
              </a:custGeom>
              <a:solidFill>
                <a:srgbClr val="FFDDF3"/>
              </a:solidFill>
              <a:ln w="2850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331" name="Freeform: Shape 1330">
                <a:extLst>
                  <a:ext uri="{FF2B5EF4-FFF2-40B4-BE49-F238E27FC236}">
                    <a16:creationId xmlns:a16="http://schemas.microsoft.com/office/drawing/2014/main" id="{6DD04F81-F6E6-4971-8D72-EA4510CA6049}"/>
                  </a:ext>
                </a:extLst>
              </p:cNvPr>
              <p:cNvSpPr/>
              <p:nvPr/>
            </p:nvSpPr>
            <p:spPr>
              <a:xfrm>
                <a:off x="7014342" y="3594124"/>
                <a:ext cx="413618" cy="355879"/>
              </a:xfrm>
              <a:custGeom>
                <a:avLst/>
                <a:gdLst>
                  <a:gd name="connsiteX0" fmla="*/ 85930 w 413618"/>
                  <a:gd name="connsiteY0" fmla="*/ 0 h 355879"/>
                  <a:gd name="connsiteX1" fmla="*/ 3080 w 413618"/>
                  <a:gd name="connsiteY1" fmla="*/ 169700 h 355879"/>
                  <a:gd name="connsiteX2" fmla="*/ 31935 w 413618"/>
                  <a:gd name="connsiteY2" fmla="*/ 262550 h 355879"/>
                  <a:gd name="connsiteX3" fmla="*/ 104215 w 413618"/>
                  <a:gd name="connsiteY3" fmla="*/ 327973 h 355879"/>
                  <a:gd name="connsiteX4" fmla="*/ 293913 w 413618"/>
                  <a:gd name="connsiteY4" fmla="*/ 334259 h 355879"/>
                  <a:gd name="connsiteX5" fmla="*/ 371621 w 413618"/>
                  <a:gd name="connsiteY5" fmla="*/ 275978 h 355879"/>
                  <a:gd name="connsiteX6" fmla="*/ 413332 w 413618"/>
                  <a:gd name="connsiteY6" fmla="*/ 187985 h 355879"/>
                  <a:gd name="connsiteX7" fmla="*/ 413618 w 413618"/>
                  <a:gd name="connsiteY7" fmla="*/ 187985 h 355879"/>
                  <a:gd name="connsiteX8" fmla="*/ 373336 w 413618"/>
                  <a:gd name="connsiteY8" fmla="*/ 277692 h 355879"/>
                  <a:gd name="connsiteX9" fmla="*/ 295056 w 413618"/>
                  <a:gd name="connsiteY9" fmla="*/ 337401 h 355879"/>
                  <a:gd name="connsiteX10" fmla="*/ 103072 w 413618"/>
                  <a:gd name="connsiteY10" fmla="*/ 329688 h 355879"/>
                  <a:gd name="connsiteX11" fmla="*/ 30792 w 413618"/>
                  <a:gd name="connsiteY11" fmla="*/ 263407 h 355879"/>
                  <a:gd name="connsiteX12" fmla="*/ 223 w 413618"/>
                  <a:gd name="connsiteY12" fmla="*/ 169986 h 355879"/>
                  <a:gd name="connsiteX13" fmla="*/ 21078 w 413618"/>
                  <a:gd name="connsiteY13" fmla="*/ 73708 h 355879"/>
                  <a:gd name="connsiteX14" fmla="*/ 85930 w 413618"/>
                  <a:gd name="connsiteY14" fmla="*/ 0 h 355879"/>
                  <a:gd name="connsiteX15" fmla="*/ 85930 w 413618"/>
                  <a:gd name="connsiteY15" fmla="*/ 0 h 3558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413618" h="355879">
                    <a:moveTo>
                      <a:pt x="85930" y="0"/>
                    </a:moveTo>
                    <a:cubicBezTo>
                      <a:pt x="31649" y="37997"/>
                      <a:pt x="1651" y="104563"/>
                      <a:pt x="3080" y="169700"/>
                    </a:cubicBezTo>
                    <a:cubicBezTo>
                      <a:pt x="4223" y="202269"/>
                      <a:pt x="14508" y="234838"/>
                      <a:pt x="31935" y="262550"/>
                    </a:cubicBezTo>
                    <a:cubicBezTo>
                      <a:pt x="49648" y="290262"/>
                      <a:pt x="75074" y="312546"/>
                      <a:pt x="104215" y="327973"/>
                    </a:cubicBezTo>
                    <a:cubicBezTo>
                      <a:pt x="162210" y="358828"/>
                      <a:pt x="234204" y="360828"/>
                      <a:pt x="293913" y="334259"/>
                    </a:cubicBezTo>
                    <a:cubicBezTo>
                      <a:pt x="323625" y="320831"/>
                      <a:pt x="351052" y="301690"/>
                      <a:pt x="371621" y="275978"/>
                    </a:cubicBezTo>
                    <a:cubicBezTo>
                      <a:pt x="392191" y="250551"/>
                      <a:pt x="406476" y="219982"/>
                      <a:pt x="413332" y="187985"/>
                    </a:cubicBezTo>
                    <a:lnTo>
                      <a:pt x="413618" y="187985"/>
                    </a:lnTo>
                    <a:cubicBezTo>
                      <a:pt x="407904" y="220554"/>
                      <a:pt x="393905" y="251408"/>
                      <a:pt x="373336" y="277692"/>
                    </a:cubicBezTo>
                    <a:cubicBezTo>
                      <a:pt x="353052" y="303975"/>
                      <a:pt x="325340" y="324259"/>
                      <a:pt x="295056" y="337401"/>
                    </a:cubicBezTo>
                    <a:cubicBezTo>
                      <a:pt x="234490" y="364256"/>
                      <a:pt x="161067" y="361971"/>
                      <a:pt x="103072" y="329688"/>
                    </a:cubicBezTo>
                    <a:cubicBezTo>
                      <a:pt x="73931" y="313975"/>
                      <a:pt x="49076" y="290834"/>
                      <a:pt x="30792" y="263407"/>
                    </a:cubicBezTo>
                    <a:cubicBezTo>
                      <a:pt x="12793" y="235695"/>
                      <a:pt x="1937" y="203126"/>
                      <a:pt x="223" y="169986"/>
                    </a:cubicBezTo>
                    <a:cubicBezTo>
                      <a:pt x="-1491" y="136846"/>
                      <a:pt x="6794" y="103420"/>
                      <a:pt x="21078" y="73708"/>
                    </a:cubicBezTo>
                    <a:cubicBezTo>
                      <a:pt x="35934" y="43996"/>
                      <a:pt x="57933" y="17713"/>
                      <a:pt x="85930" y="0"/>
                    </a:cubicBezTo>
                    <a:lnTo>
                      <a:pt x="85930" y="0"/>
                    </a:lnTo>
                    <a:close/>
                  </a:path>
                </a:pathLst>
              </a:custGeom>
              <a:solidFill>
                <a:srgbClr val="FFDDF3"/>
              </a:solidFill>
              <a:ln w="2850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sp>
          <p:nvSpPr>
            <p:cNvPr id="1332" name="Freeform: Shape 1331">
              <a:extLst>
                <a:ext uri="{FF2B5EF4-FFF2-40B4-BE49-F238E27FC236}">
                  <a16:creationId xmlns:a16="http://schemas.microsoft.com/office/drawing/2014/main" id="{D2F2CE2E-95B1-42B5-9C68-1B05247ADCCC}"/>
                </a:ext>
              </a:extLst>
            </p:cNvPr>
            <p:cNvSpPr/>
            <p:nvPr/>
          </p:nvSpPr>
          <p:spPr>
            <a:xfrm>
              <a:off x="7032850" y="3650691"/>
              <a:ext cx="399289" cy="298117"/>
            </a:xfrm>
            <a:custGeom>
              <a:avLst/>
              <a:gdLst>
                <a:gd name="connsiteX0" fmla="*/ 395682 w 399289"/>
                <a:gd name="connsiteY0" fmla="*/ 50853 h 298117"/>
                <a:gd name="connsiteX1" fmla="*/ 376541 w 399289"/>
                <a:gd name="connsiteY1" fmla="*/ 0 h 298117"/>
                <a:gd name="connsiteX2" fmla="*/ 365970 w 399289"/>
                <a:gd name="connsiteY2" fmla="*/ 160844 h 298117"/>
                <a:gd name="connsiteX3" fmla="*/ 245980 w 399289"/>
                <a:gd name="connsiteY3" fmla="*/ 264264 h 298117"/>
                <a:gd name="connsiteX4" fmla="*/ 130847 w 399289"/>
                <a:gd name="connsiteY4" fmla="*/ 271407 h 298117"/>
                <a:gd name="connsiteX5" fmla="*/ 0 w 399289"/>
                <a:gd name="connsiteY5" fmla="*/ 182271 h 298117"/>
                <a:gd name="connsiteX6" fmla="*/ 24855 w 399289"/>
                <a:gd name="connsiteY6" fmla="*/ 222553 h 298117"/>
                <a:gd name="connsiteX7" fmla="*/ 160273 w 399289"/>
                <a:gd name="connsiteY7" fmla="*/ 296262 h 298117"/>
                <a:gd name="connsiteX8" fmla="*/ 309118 w 399289"/>
                <a:gd name="connsiteY8" fmla="*/ 261693 h 298117"/>
                <a:gd name="connsiteX9" fmla="*/ 395397 w 399289"/>
                <a:gd name="connsiteY9" fmla="*/ 131704 h 298117"/>
                <a:gd name="connsiteX10" fmla="*/ 395682 w 399289"/>
                <a:gd name="connsiteY10" fmla="*/ 50853 h 298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99289" h="298117">
                  <a:moveTo>
                    <a:pt x="395682" y="50853"/>
                  </a:moveTo>
                  <a:cubicBezTo>
                    <a:pt x="391968" y="33140"/>
                    <a:pt x="385397" y="15999"/>
                    <a:pt x="376541" y="0"/>
                  </a:cubicBezTo>
                  <a:cubicBezTo>
                    <a:pt x="380255" y="31426"/>
                    <a:pt x="397396" y="96278"/>
                    <a:pt x="365970" y="160844"/>
                  </a:cubicBezTo>
                  <a:cubicBezTo>
                    <a:pt x="330545" y="233410"/>
                    <a:pt x="255408" y="260836"/>
                    <a:pt x="245980" y="264264"/>
                  </a:cubicBezTo>
                  <a:cubicBezTo>
                    <a:pt x="188842" y="284263"/>
                    <a:pt x="139989" y="273692"/>
                    <a:pt x="130847" y="271407"/>
                  </a:cubicBezTo>
                  <a:cubicBezTo>
                    <a:pt x="67994" y="256836"/>
                    <a:pt x="25712" y="213126"/>
                    <a:pt x="0" y="182271"/>
                  </a:cubicBezTo>
                  <a:cubicBezTo>
                    <a:pt x="6571" y="196841"/>
                    <a:pt x="14570" y="210554"/>
                    <a:pt x="24855" y="222553"/>
                  </a:cubicBezTo>
                  <a:cubicBezTo>
                    <a:pt x="58567" y="264264"/>
                    <a:pt x="109134" y="290262"/>
                    <a:pt x="160273" y="296262"/>
                  </a:cubicBezTo>
                  <a:cubicBezTo>
                    <a:pt x="211697" y="303118"/>
                    <a:pt x="265121" y="290834"/>
                    <a:pt x="309118" y="261693"/>
                  </a:cubicBezTo>
                  <a:cubicBezTo>
                    <a:pt x="353686" y="233124"/>
                    <a:pt x="385112" y="184556"/>
                    <a:pt x="395397" y="131704"/>
                  </a:cubicBezTo>
                  <a:cubicBezTo>
                    <a:pt x="400539" y="105134"/>
                    <a:pt x="400539" y="77708"/>
                    <a:pt x="395682" y="50853"/>
                  </a:cubicBezTo>
                  <a:close/>
                </a:path>
              </a:pathLst>
            </a:custGeom>
            <a:solidFill>
              <a:srgbClr val="2A3E33">
                <a:alpha val="62000"/>
              </a:srgbClr>
            </a:solidFill>
            <a:ln w="2850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33" name="Freeform: Shape 1332">
              <a:extLst>
                <a:ext uri="{FF2B5EF4-FFF2-40B4-BE49-F238E27FC236}">
                  <a16:creationId xmlns:a16="http://schemas.microsoft.com/office/drawing/2014/main" id="{E71DFA82-65CF-4B29-91EE-7C012D4DC6FF}"/>
                </a:ext>
              </a:extLst>
            </p:cNvPr>
            <p:cNvSpPr/>
            <p:nvPr/>
          </p:nvSpPr>
          <p:spPr>
            <a:xfrm>
              <a:off x="9501358" y="5195254"/>
              <a:ext cx="358690" cy="485272"/>
            </a:xfrm>
            <a:custGeom>
              <a:avLst/>
              <a:gdLst>
                <a:gd name="connsiteX0" fmla="*/ 220988 w 358690"/>
                <a:gd name="connsiteY0" fmla="*/ 478131 h 485272"/>
                <a:gd name="connsiteX1" fmla="*/ 160421 w 358690"/>
                <a:gd name="connsiteY1" fmla="*/ 447847 h 485272"/>
                <a:gd name="connsiteX2" fmla="*/ 154993 w 358690"/>
                <a:gd name="connsiteY2" fmla="*/ 442991 h 485272"/>
                <a:gd name="connsiteX3" fmla="*/ 33860 w 358690"/>
                <a:gd name="connsiteY3" fmla="*/ 195296 h 485272"/>
                <a:gd name="connsiteX4" fmla="*/ 256699 w 358690"/>
                <a:gd name="connsiteY4" fmla="*/ 31881 h 485272"/>
                <a:gd name="connsiteX5" fmla="*/ 358691 w 358690"/>
                <a:gd name="connsiteY5" fmla="*/ 56451 h 485272"/>
                <a:gd name="connsiteX6" fmla="*/ 308980 w 358690"/>
                <a:gd name="connsiteY6" fmla="*/ 19025 h 485272"/>
                <a:gd name="connsiteX7" fmla="*/ 72714 w 358690"/>
                <a:gd name="connsiteY7" fmla="*/ 60736 h 485272"/>
                <a:gd name="connsiteX8" fmla="*/ 1862 w 358690"/>
                <a:gd name="connsiteY8" fmla="*/ 258720 h 485272"/>
                <a:gd name="connsiteX9" fmla="*/ 240700 w 358690"/>
                <a:gd name="connsiteY9" fmla="*/ 485273 h 485272"/>
                <a:gd name="connsiteX10" fmla="*/ 220988 w 358690"/>
                <a:gd name="connsiteY10" fmla="*/ 478131 h 4852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58690" h="485272">
                  <a:moveTo>
                    <a:pt x="220988" y="478131"/>
                  </a:moveTo>
                  <a:cubicBezTo>
                    <a:pt x="198132" y="470988"/>
                    <a:pt x="175277" y="460989"/>
                    <a:pt x="160421" y="447847"/>
                  </a:cubicBezTo>
                  <a:cubicBezTo>
                    <a:pt x="158707" y="446419"/>
                    <a:pt x="156707" y="444705"/>
                    <a:pt x="154993" y="442991"/>
                  </a:cubicBezTo>
                  <a:cubicBezTo>
                    <a:pt x="65000" y="382138"/>
                    <a:pt x="12147" y="284432"/>
                    <a:pt x="33860" y="195296"/>
                  </a:cubicBezTo>
                  <a:cubicBezTo>
                    <a:pt x="71857" y="41023"/>
                    <a:pt x="186419" y="33881"/>
                    <a:pt x="256699" y="31881"/>
                  </a:cubicBezTo>
                  <a:cubicBezTo>
                    <a:pt x="285554" y="31024"/>
                    <a:pt x="323265" y="38452"/>
                    <a:pt x="358691" y="56451"/>
                  </a:cubicBezTo>
                  <a:cubicBezTo>
                    <a:pt x="346120" y="43023"/>
                    <a:pt x="329836" y="29595"/>
                    <a:pt x="308980" y="19025"/>
                  </a:cubicBezTo>
                  <a:cubicBezTo>
                    <a:pt x="230701" y="-20400"/>
                    <a:pt x="133281" y="5312"/>
                    <a:pt x="72714" y="60736"/>
                  </a:cubicBezTo>
                  <a:cubicBezTo>
                    <a:pt x="13862" y="114446"/>
                    <a:pt x="-6708" y="194439"/>
                    <a:pt x="1862" y="258720"/>
                  </a:cubicBezTo>
                  <a:cubicBezTo>
                    <a:pt x="15861" y="362140"/>
                    <a:pt x="109282" y="453561"/>
                    <a:pt x="240700" y="485273"/>
                  </a:cubicBezTo>
                  <a:cubicBezTo>
                    <a:pt x="233844" y="483273"/>
                    <a:pt x="227273" y="480702"/>
                    <a:pt x="220988" y="478131"/>
                  </a:cubicBezTo>
                  <a:close/>
                </a:path>
              </a:pathLst>
            </a:custGeom>
            <a:solidFill>
              <a:srgbClr val="73D927"/>
            </a:solidFill>
            <a:ln w="2850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34" name="Freeform: Shape 1333">
              <a:extLst>
                <a:ext uri="{FF2B5EF4-FFF2-40B4-BE49-F238E27FC236}">
                  <a16:creationId xmlns:a16="http://schemas.microsoft.com/office/drawing/2014/main" id="{12A6278D-F1A5-4BED-BBB9-D1343BD0B979}"/>
                </a:ext>
              </a:extLst>
            </p:cNvPr>
            <p:cNvSpPr/>
            <p:nvPr/>
          </p:nvSpPr>
          <p:spPr>
            <a:xfrm>
              <a:off x="9747487" y="5377598"/>
              <a:ext cx="113879" cy="106944"/>
            </a:xfrm>
            <a:custGeom>
              <a:avLst/>
              <a:gdLst>
                <a:gd name="connsiteX0" fmla="*/ 73137 w 113879"/>
                <a:gd name="connsiteY0" fmla="*/ 106945 h 106944"/>
                <a:gd name="connsiteX1" fmla="*/ 108563 w 113879"/>
                <a:gd name="connsiteY1" fmla="*/ 93231 h 106944"/>
                <a:gd name="connsiteX2" fmla="*/ 78565 w 113879"/>
                <a:gd name="connsiteY2" fmla="*/ 14381 h 106944"/>
                <a:gd name="connsiteX3" fmla="*/ 0 w 113879"/>
                <a:gd name="connsiteY3" fmla="*/ 6667 h 106944"/>
                <a:gd name="connsiteX4" fmla="*/ 90564 w 113879"/>
                <a:gd name="connsiteY4" fmla="*/ 62377 h 106944"/>
                <a:gd name="connsiteX5" fmla="*/ 73137 w 113879"/>
                <a:gd name="connsiteY5" fmla="*/ 106945 h 106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3879" h="106944">
                  <a:moveTo>
                    <a:pt x="73137" y="106945"/>
                  </a:moveTo>
                  <a:cubicBezTo>
                    <a:pt x="87707" y="106945"/>
                    <a:pt x="101420" y="103516"/>
                    <a:pt x="108563" y="93231"/>
                  </a:cubicBezTo>
                  <a:cubicBezTo>
                    <a:pt x="123419" y="72090"/>
                    <a:pt x="105134" y="32379"/>
                    <a:pt x="78565" y="14381"/>
                  </a:cubicBezTo>
                  <a:cubicBezTo>
                    <a:pt x="54567" y="-1904"/>
                    <a:pt x="19427" y="-4189"/>
                    <a:pt x="0" y="6667"/>
                  </a:cubicBezTo>
                  <a:cubicBezTo>
                    <a:pt x="37997" y="5810"/>
                    <a:pt x="75708" y="22094"/>
                    <a:pt x="90564" y="62377"/>
                  </a:cubicBezTo>
                  <a:cubicBezTo>
                    <a:pt x="99706" y="86661"/>
                    <a:pt x="88850" y="100088"/>
                    <a:pt x="73137" y="106945"/>
                  </a:cubicBezTo>
                  <a:close/>
                </a:path>
              </a:pathLst>
            </a:custGeom>
            <a:solidFill>
              <a:srgbClr val="308218"/>
            </a:solidFill>
            <a:ln w="2850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35" name="Freeform: Shape 1334">
              <a:extLst>
                <a:ext uri="{FF2B5EF4-FFF2-40B4-BE49-F238E27FC236}">
                  <a16:creationId xmlns:a16="http://schemas.microsoft.com/office/drawing/2014/main" id="{BBAFC8A3-A054-4C19-94B8-312BFBE13FBE}"/>
                </a:ext>
              </a:extLst>
            </p:cNvPr>
            <p:cNvSpPr/>
            <p:nvPr/>
          </p:nvSpPr>
          <p:spPr>
            <a:xfrm>
              <a:off x="9552501" y="5328841"/>
              <a:ext cx="484962" cy="357691"/>
            </a:xfrm>
            <a:custGeom>
              <a:avLst/>
              <a:gdLst>
                <a:gd name="connsiteX0" fmla="*/ 109278 w 484962"/>
                <a:gd name="connsiteY0" fmla="*/ 307118 h 357691"/>
                <a:gd name="connsiteX1" fmla="*/ 484962 w 484962"/>
                <a:gd name="connsiteY1" fmla="*/ 257122 h 357691"/>
                <a:gd name="connsiteX2" fmla="*/ 263551 w 484962"/>
                <a:gd name="connsiteY2" fmla="*/ 325402 h 357691"/>
                <a:gd name="connsiteX3" fmla="*/ 48712 w 484962"/>
                <a:gd name="connsiteY3" fmla="*/ 211126 h 357691"/>
                <a:gd name="connsiteX4" fmla="*/ 48712 w 484962"/>
                <a:gd name="connsiteY4" fmla="*/ 71137 h 357691"/>
                <a:gd name="connsiteX5" fmla="*/ 91280 w 484962"/>
                <a:gd name="connsiteY5" fmla="*/ 0 h 357691"/>
                <a:gd name="connsiteX6" fmla="*/ 75852 w 484962"/>
                <a:gd name="connsiteY6" fmla="*/ 9142 h 357691"/>
                <a:gd name="connsiteX7" fmla="*/ 109278 w 484962"/>
                <a:gd name="connsiteY7" fmla="*/ 307118 h 3576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84962" h="357691">
                  <a:moveTo>
                    <a:pt x="109278" y="307118"/>
                  </a:moveTo>
                  <a:cubicBezTo>
                    <a:pt x="245553" y="407110"/>
                    <a:pt x="411825" y="341972"/>
                    <a:pt x="484962" y="257122"/>
                  </a:cubicBezTo>
                  <a:cubicBezTo>
                    <a:pt x="438109" y="286548"/>
                    <a:pt x="358401" y="333401"/>
                    <a:pt x="263551" y="325402"/>
                  </a:cubicBezTo>
                  <a:cubicBezTo>
                    <a:pt x="231268" y="322545"/>
                    <a:pt x="93565" y="310832"/>
                    <a:pt x="48712" y="211126"/>
                  </a:cubicBezTo>
                  <a:cubicBezTo>
                    <a:pt x="21000" y="149702"/>
                    <a:pt x="43284" y="86564"/>
                    <a:pt x="48712" y="71137"/>
                  </a:cubicBezTo>
                  <a:cubicBezTo>
                    <a:pt x="58997" y="41711"/>
                    <a:pt x="74710" y="18570"/>
                    <a:pt x="91280" y="0"/>
                  </a:cubicBezTo>
                  <a:cubicBezTo>
                    <a:pt x="86137" y="2857"/>
                    <a:pt x="80995" y="5714"/>
                    <a:pt x="75852" y="9142"/>
                  </a:cubicBezTo>
                  <a:cubicBezTo>
                    <a:pt x="-22425" y="73137"/>
                    <a:pt x="-38996" y="198555"/>
                    <a:pt x="109278" y="307118"/>
                  </a:cubicBezTo>
                  <a:close/>
                </a:path>
              </a:pathLst>
            </a:custGeom>
            <a:solidFill>
              <a:srgbClr val="308218"/>
            </a:solidFill>
            <a:ln w="2850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36" name="Freeform: Shape 1335">
              <a:extLst>
                <a:ext uri="{FF2B5EF4-FFF2-40B4-BE49-F238E27FC236}">
                  <a16:creationId xmlns:a16="http://schemas.microsoft.com/office/drawing/2014/main" id="{33A4AC17-0E45-4893-B79E-A1AC752CAF30}"/>
                </a:ext>
              </a:extLst>
            </p:cNvPr>
            <p:cNvSpPr/>
            <p:nvPr/>
          </p:nvSpPr>
          <p:spPr>
            <a:xfrm>
              <a:off x="9828052" y="5308557"/>
              <a:ext cx="99854" cy="216553"/>
            </a:xfrm>
            <a:custGeom>
              <a:avLst/>
              <a:gdLst>
                <a:gd name="connsiteX0" fmla="*/ 42568 w 99854"/>
                <a:gd name="connsiteY0" fmla="*/ 40568 h 216553"/>
                <a:gd name="connsiteX1" fmla="*/ 83136 w 99854"/>
                <a:gd name="connsiteY1" fmla="*/ 131132 h 216553"/>
                <a:gd name="connsiteX2" fmla="*/ 75137 w 99854"/>
                <a:gd name="connsiteY2" fmla="*/ 216554 h 216553"/>
                <a:gd name="connsiteX3" fmla="*/ 84565 w 99854"/>
                <a:gd name="connsiteY3" fmla="*/ 78851 h 216553"/>
                <a:gd name="connsiteX4" fmla="*/ 0 w 99854"/>
                <a:gd name="connsiteY4" fmla="*/ 0 h 216553"/>
                <a:gd name="connsiteX5" fmla="*/ 42568 w 99854"/>
                <a:gd name="connsiteY5" fmla="*/ 40568 h 2165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9854" h="216553">
                  <a:moveTo>
                    <a:pt x="42568" y="40568"/>
                  </a:moveTo>
                  <a:cubicBezTo>
                    <a:pt x="51710" y="52282"/>
                    <a:pt x="76279" y="84565"/>
                    <a:pt x="83136" y="131132"/>
                  </a:cubicBezTo>
                  <a:cubicBezTo>
                    <a:pt x="88279" y="166272"/>
                    <a:pt x="81422" y="196270"/>
                    <a:pt x="75137" y="216554"/>
                  </a:cubicBezTo>
                  <a:cubicBezTo>
                    <a:pt x="101135" y="188271"/>
                    <a:pt x="110277" y="141131"/>
                    <a:pt x="84565" y="78851"/>
                  </a:cubicBezTo>
                  <a:cubicBezTo>
                    <a:pt x="68280" y="39140"/>
                    <a:pt x="37425" y="13428"/>
                    <a:pt x="0" y="0"/>
                  </a:cubicBezTo>
                  <a:cubicBezTo>
                    <a:pt x="13428" y="9428"/>
                    <a:pt x="28569" y="22570"/>
                    <a:pt x="42568" y="40568"/>
                  </a:cubicBezTo>
                  <a:close/>
                </a:path>
              </a:pathLst>
            </a:custGeom>
            <a:solidFill>
              <a:srgbClr val="73D927"/>
            </a:solidFill>
            <a:ln w="2850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37" name="Freeform: Shape 1336">
              <a:extLst>
                <a:ext uri="{FF2B5EF4-FFF2-40B4-BE49-F238E27FC236}">
                  <a16:creationId xmlns:a16="http://schemas.microsoft.com/office/drawing/2014/main" id="{4B78A675-29D9-421D-929C-5D4F6FF1364D}"/>
                </a:ext>
              </a:extLst>
            </p:cNvPr>
            <p:cNvSpPr/>
            <p:nvPr/>
          </p:nvSpPr>
          <p:spPr>
            <a:xfrm>
              <a:off x="9899760" y="3721257"/>
              <a:ext cx="283689" cy="825647"/>
            </a:xfrm>
            <a:custGeom>
              <a:avLst/>
              <a:gdLst>
                <a:gd name="connsiteX0" fmla="*/ 269121 w 283689"/>
                <a:gd name="connsiteY0" fmla="*/ 603665 h 825647"/>
                <a:gd name="connsiteX1" fmla="*/ 183699 w 283689"/>
                <a:gd name="connsiteY1" fmla="*/ 470533 h 825647"/>
                <a:gd name="connsiteX2" fmla="*/ 37140 w 283689"/>
                <a:gd name="connsiteY2" fmla="*/ 107706 h 825647"/>
                <a:gd name="connsiteX3" fmla="*/ 3714 w 283689"/>
                <a:gd name="connsiteY3" fmla="*/ 0 h 825647"/>
                <a:gd name="connsiteX4" fmla="*/ 0 w 283689"/>
                <a:gd name="connsiteY4" fmla="*/ 21998 h 825647"/>
                <a:gd name="connsiteX5" fmla="*/ 0 w 283689"/>
                <a:gd name="connsiteY5" fmla="*/ 21998 h 825647"/>
                <a:gd name="connsiteX6" fmla="*/ 43425 w 283689"/>
                <a:gd name="connsiteY6" fmla="*/ 225410 h 825647"/>
                <a:gd name="connsiteX7" fmla="*/ 128275 w 283689"/>
                <a:gd name="connsiteY7" fmla="*/ 473390 h 825647"/>
                <a:gd name="connsiteX8" fmla="*/ 146274 w 283689"/>
                <a:gd name="connsiteY8" fmla="*/ 567383 h 825647"/>
                <a:gd name="connsiteX9" fmla="*/ 32855 w 283689"/>
                <a:gd name="connsiteY9" fmla="*/ 517958 h 825647"/>
                <a:gd name="connsiteX10" fmla="*/ 34283 w 283689"/>
                <a:gd name="connsiteY10" fmla="*/ 528814 h 825647"/>
                <a:gd name="connsiteX11" fmla="*/ 83708 w 283689"/>
                <a:gd name="connsiteY11" fmla="*/ 635091 h 825647"/>
                <a:gd name="connsiteX12" fmla="*/ 270835 w 283689"/>
                <a:gd name="connsiteY12" fmla="*/ 825647 h 825647"/>
                <a:gd name="connsiteX13" fmla="*/ 269121 w 283689"/>
                <a:gd name="connsiteY13" fmla="*/ 603665 h 825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83689" h="825647">
                  <a:moveTo>
                    <a:pt x="269121" y="603665"/>
                  </a:moveTo>
                  <a:cubicBezTo>
                    <a:pt x="279406" y="547384"/>
                    <a:pt x="231410" y="507387"/>
                    <a:pt x="183699" y="470533"/>
                  </a:cubicBezTo>
                  <a:cubicBezTo>
                    <a:pt x="135989" y="433679"/>
                    <a:pt x="94849" y="334259"/>
                    <a:pt x="37140" y="107706"/>
                  </a:cubicBezTo>
                  <a:cubicBezTo>
                    <a:pt x="25998" y="63709"/>
                    <a:pt x="14570" y="28569"/>
                    <a:pt x="3714" y="0"/>
                  </a:cubicBezTo>
                  <a:lnTo>
                    <a:pt x="0" y="21998"/>
                  </a:lnTo>
                  <a:lnTo>
                    <a:pt x="0" y="21998"/>
                  </a:lnTo>
                  <a:cubicBezTo>
                    <a:pt x="9713" y="111134"/>
                    <a:pt x="28283" y="179700"/>
                    <a:pt x="43425" y="225410"/>
                  </a:cubicBezTo>
                  <a:cubicBezTo>
                    <a:pt x="71709" y="311403"/>
                    <a:pt x="102277" y="363970"/>
                    <a:pt x="128275" y="473390"/>
                  </a:cubicBezTo>
                  <a:cubicBezTo>
                    <a:pt x="140846" y="526243"/>
                    <a:pt x="158844" y="556526"/>
                    <a:pt x="146274" y="567383"/>
                  </a:cubicBezTo>
                  <a:cubicBezTo>
                    <a:pt x="128275" y="582810"/>
                    <a:pt x="71137" y="545956"/>
                    <a:pt x="32855" y="517958"/>
                  </a:cubicBezTo>
                  <a:cubicBezTo>
                    <a:pt x="33426" y="521386"/>
                    <a:pt x="33997" y="525100"/>
                    <a:pt x="34283" y="528814"/>
                  </a:cubicBezTo>
                  <a:cubicBezTo>
                    <a:pt x="36854" y="547384"/>
                    <a:pt x="38854" y="587381"/>
                    <a:pt x="83708" y="635091"/>
                  </a:cubicBezTo>
                  <a:cubicBezTo>
                    <a:pt x="141131" y="695944"/>
                    <a:pt x="139417" y="822219"/>
                    <a:pt x="270835" y="825647"/>
                  </a:cubicBezTo>
                  <a:cubicBezTo>
                    <a:pt x="303975" y="733369"/>
                    <a:pt x="261693" y="645948"/>
                    <a:pt x="269121" y="603665"/>
                  </a:cubicBezTo>
                  <a:close/>
                </a:path>
              </a:pathLst>
            </a:custGeom>
            <a:solidFill>
              <a:srgbClr val="73D927"/>
            </a:solidFill>
            <a:ln w="2850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38" name="Freeform: Shape 1337">
              <a:extLst>
                <a:ext uri="{FF2B5EF4-FFF2-40B4-BE49-F238E27FC236}">
                  <a16:creationId xmlns:a16="http://schemas.microsoft.com/office/drawing/2014/main" id="{6182215A-89F8-40F8-80FB-D70391AEDE90}"/>
                </a:ext>
              </a:extLst>
            </p:cNvPr>
            <p:cNvSpPr/>
            <p:nvPr/>
          </p:nvSpPr>
          <p:spPr>
            <a:xfrm>
              <a:off x="9889475" y="3743255"/>
              <a:ext cx="160824" cy="549122"/>
            </a:xfrm>
            <a:custGeom>
              <a:avLst/>
              <a:gdLst>
                <a:gd name="connsiteX0" fmla="*/ 156559 w 160824"/>
                <a:gd name="connsiteY0" fmla="*/ 545384 h 549122"/>
                <a:gd name="connsiteX1" fmla="*/ 138560 w 160824"/>
                <a:gd name="connsiteY1" fmla="*/ 451392 h 549122"/>
                <a:gd name="connsiteX2" fmla="*/ 53710 w 160824"/>
                <a:gd name="connsiteY2" fmla="*/ 203412 h 549122"/>
                <a:gd name="connsiteX3" fmla="*/ 10285 w 160824"/>
                <a:gd name="connsiteY3" fmla="*/ 0 h 549122"/>
                <a:gd name="connsiteX4" fmla="*/ 10285 w 160824"/>
                <a:gd name="connsiteY4" fmla="*/ 0 h 549122"/>
                <a:gd name="connsiteX5" fmla="*/ 0 w 160824"/>
                <a:gd name="connsiteY5" fmla="*/ 61709 h 549122"/>
                <a:gd name="connsiteX6" fmla="*/ 10571 w 160824"/>
                <a:gd name="connsiteY6" fmla="*/ 382255 h 549122"/>
                <a:gd name="connsiteX7" fmla="*/ 43139 w 160824"/>
                <a:gd name="connsiteY7" fmla="*/ 495674 h 549122"/>
                <a:gd name="connsiteX8" fmla="*/ 156559 w 160824"/>
                <a:gd name="connsiteY8" fmla="*/ 545384 h 5491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60824" h="549122">
                  <a:moveTo>
                    <a:pt x="156559" y="545384"/>
                  </a:moveTo>
                  <a:cubicBezTo>
                    <a:pt x="169129" y="534528"/>
                    <a:pt x="151131" y="504245"/>
                    <a:pt x="138560" y="451392"/>
                  </a:cubicBezTo>
                  <a:cubicBezTo>
                    <a:pt x="112562" y="341972"/>
                    <a:pt x="81708" y="289405"/>
                    <a:pt x="53710" y="203412"/>
                  </a:cubicBezTo>
                  <a:cubicBezTo>
                    <a:pt x="38854" y="157987"/>
                    <a:pt x="20284" y="89421"/>
                    <a:pt x="10285" y="0"/>
                  </a:cubicBezTo>
                  <a:lnTo>
                    <a:pt x="10285" y="0"/>
                  </a:lnTo>
                  <a:lnTo>
                    <a:pt x="0" y="61709"/>
                  </a:lnTo>
                  <a:lnTo>
                    <a:pt x="10571" y="382255"/>
                  </a:lnTo>
                  <a:cubicBezTo>
                    <a:pt x="10571" y="382255"/>
                    <a:pt x="32569" y="421680"/>
                    <a:pt x="43139" y="495674"/>
                  </a:cubicBezTo>
                  <a:cubicBezTo>
                    <a:pt x="81422" y="523957"/>
                    <a:pt x="138274" y="561097"/>
                    <a:pt x="156559" y="545384"/>
                  </a:cubicBezTo>
                  <a:close/>
                </a:path>
              </a:pathLst>
            </a:custGeom>
            <a:solidFill>
              <a:srgbClr val="73D927"/>
            </a:solidFill>
            <a:ln w="2850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39" name="Freeform: Shape 1338">
              <a:extLst>
                <a:ext uri="{FF2B5EF4-FFF2-40B4-BE49-F238E27FC236}">
                  <a16:creationId xmlns:a16="http://schemas.microsoft.com/office/drawing/2014/main" id="{1311C20D-A1DB-42B9-92C3-D3EB577F7136}"/>
                </a:ext>
              </a:extLst>
            </p:cNvPr>
            <p:cNvSpPr/>
            <p:nvPr/>
          </p:nvSpPr>
          <p:spPr>
            <a:xfrm>
              <a:off x="9890618" y="3721257"/>
              <a:ext cx="56736" cy="466714"/>
            </a:xfrm>
            <a:custGeom>
              <a:avLst/>
              <a:gdLst>
                <a:gd name="connsiteX0" fmla="*/ 55424 w 56736"/>
                <a:gd name="connsiteY0" fmla="*/ 349400 h 466714"/>
                <a:gd name="connsiteX1" fmla="*/ 46568 w 56736"/>
                <a:gd name="connsiteY1" fmla="*/ 107706 h 466714"/>
                <a:gd name="connsiteX2" fmla="*/ 13142 w 56736"/>
                <a:gd name="connsiteY2" fmla="*/ 0 h 466714"/>
                <a:gd name="connsiteX3" fmla="*/ 0 w 56736"/>
                <a:gd name="connsiteY3" fmla="*/ 108848 h 466714"/>
                <a:gd name="connsiteX4" fmla="*/ 9713 w 56736"/>
                <a:gd name="connsiteY4" fmla="*/ 404253 h 466714"/>
                <a:gd name="connsiteX5" fmla="*/ 31426 w 56736"/>
                <a:gd name="connsiteY5" fmla="*/ 463962 h 466714"/>
                <a:gd name="connsiteX6" fmla="*/ 53139 w 56736"/>
                <a:gd name="connsiteY6" fmla="*/ 431679 h 466714"/>
                <a:gd name="connsiteX7" fmla="*/ 55424 w 56736"/>
                <a:gd name="connsiteY7" fmla="*/ 349400 h 466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6736" h="466714">
                  <a:moveTo>
                    <a:pt x="55424" y="349400"/>
                  </a:moveTo>
                  <a:cubicBezTo>
                    <a:pt x="35711" y="177414"/>
                    <a:pt x="65709" y="183128"/>
                    <a:pt x="46568" y="107706"/>
                  </a:cubicBezTo>
                  <a:cubicBezTo>
                    <a:pt x="35426" y="63709"/>
                    <a:pt x="23998" y="28569"/>
                    <a:pt x="13142" y="0"/>
                  </a:cubicBezTo>
                  <a:cubicBezTo>
                    <a:pt x="8285" y="26855"/>
                    <a:pt x="3143" y="63138"/>
                    <a:pt x="0" y="108848"/>
                  </a:cubicBezTo>
                  <a:lnTo>
                    <a:pt x="9713" y="404253"/>
                  </a:lnTo>
                  <a:lnTo>
                    <a:pt x="31426" y="463962"/>
                  </a:lnTo>
                  <a:cubicBezTo>
                    <a:pt x="38854" y="475961"/>
                    <a:pt x="52282" y="445678"/>
                    <a:pt x="53139" y="431679"/>
                  </a:cubicBezTo>
                  <a:cubicBezTo>
                    <a:pt x="55995" y="384255"/>
                    <a:pt x="58281" y="374827"/>
                    <a:pt x="55424" y="349400"/>
                  </a:cubicBezTo>
                  <a:close/>
                </a:path>
              </a:pathLst>
            </a:custGeom>
            <a:solidFill>
              <a:srgbClr val="61B521"/>
            </a:solidFill>
            <a:ln w="2850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40" name="Freeform: Shape 1339">
              <a:extLst>
                <a:ext uri="{FF2B5EF4-FFF2-40B4-BE49-F238E27FC236}">
                  <a16:creationId xmlns:a16="http://schemas.microsoft.com/office/drawing/2014/main" id="{07228D8F-50FD-4A5D-8905-9E922486D04E}"/>
                </a:ext>
              </a:extLst>
            </p:cNvPr>
            <p:cNvSpPr/>
            <p:nvPr/>
          </p:nvSpPr>
          <p:spPr>
            <a:xfrm>
              <a:off x="9853029" y="3687260"/>
              <a:ext cx="66443" cy="427398"/>
            </a:xfrm>
            <a:custGeom>
              <a:avLst/>
              <a:gdLst>
                <a:gd name="connsiteX0" fmla="*/ 66444 w 66443"/>
                <a:gd name="connsiteY0" fmla="*/ 79708 h 427398"/>
                <a:gd name="connsiteX1" fmla="*/ 50445 w 66443"/>
                <a:gd name="connsiteY1" fmla="*/ 34283 h 427398"/>
                <a:gd name="connsiteX2" fmla="*/ 50445 w 66443"/>
                <a:gd name="connsiteY2" fmla="*/ 34283 h 427398"/>
                <a:gd name="connsiteX3" fmla="*/ 35589 w 66443"/>
                <a:gd name="connsiteY3" fmla="*/ 0 h 427398"/>
                <a:gd name="connsiteX4" fmla="*/ 4163 w 66443"/>
                <a:gd name="connsiteY4" fmla="*/ 152273 h 427398"/>
                <a:gd name="connsiteX5" fmla="*/ 29304 w 66443"/>
                <a:gd name="connsiteY5" fmla="*/ 427394 h 427398"/>
                <a:gd name="connsiteX6" fmla="*/ 45589 w 66443"/>
                <a:gd name="connsiteY6" fmla="*/ 194270 h 427398"/>
                <a:gd name="connsiteX7" fmla="*/ 51302 w 66443"/>
                <a:gd name="connsiteY7" fmla="*/ 116562 h 427398"/>
                <a:gd name="connsiteX8" fmla="*/ 66444 w 66443"/>
                <a:gd name="connsiteY8" fmla="*/ 79708 h 4273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66443" h="427398">
                  <a:moveTo>
                    <a:pt x="66444" y="79708"/>
                  </a:moveTo>
                  <a:cubicBezTo>
                    <a:pt x="61016" y="62852"/>
                    <a:pt x="55873" y="47710"/>
                    <a:pt x="50445" y="34283"/>
                  </a:cubicBezTo>
                  <a:lnTo>
                    <a:pt x="50445" y="34283"/>
                  </a:lnTo>
                  <a:cubicBezTo>
                    <a:pt x="45303" y="21427"/>
                    <a:pt x="40446" y="10285"/>
                    <a:pt x="35589" y="0"/>
                  </a:cubicBezTo>
                  <a:cubicBezTo>
                    <a:pt x="21019" y="36283"/>
                    <a:pt x="9306" y="102563"/>
                    <a:pt x="4163" y="152273"/>
                  </a:cubicBezTo>
                  <a:cubicBezTo>
                    <a:pt x="-10978" y="299119"/>
                    <a:pt x="19305" y="428251"/>
                    <a:pt x="29304" y="427394"/>
                  </a:cubicBezTo>
                  <a:cubicBezTo>
                    <a:pt x="39875" y="426537"/>
                    <a:pt x="47303" y="280549"/>
                    <a:pt x="45589" y="194270"/>
                  </a:cubicBezTo>
                  <a:cubicBezTo>
                    <a:pt x="45017" y="164844"/>
                    <a:pt x="43303" y="144845"/>
                    <a:pt x="51302" y="116562"/>
                  </a:cubicBezTo>
                  <a:cubicBezTo>
                    <a:pt x="55873" y="101420"/>
                    <a:pt x="61302" y="89707"/>
                    <a:pt x="66444" y="79708"/>
                  </a:cubicBezTo>
                  <a:close/>
                </a:path>
              </a:pathLst>
            </a:custGeom>
            <a:solidFill>
              <a:srgbClr val="00051F"/>
            </a:solidFill>
            <a:ln w="2850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41" name="Freeform: Shape 1340">
              <a:extLst>
                <a:ext uri="{FF2B5EF4-FFF2-40B4-BE49-F238E27FC236}">
                  <a16:creationId xmlns:a16="http://schemas.microsoft.com/office/drawing/2014/main" id="{8D47C5C8-7D1C-4CB0-A5F6-9A8AD8E2711D}"/>
                </a:ext>
              </a:extLst>
            </p:cNvPr>
            <p:cNvSpPr/>
            <p:nvPr/>
          </p:nvSpPr>
          <p:spPr>
            <a:xfrm>
              <a:off x="9543141" y="3605552"/>
              <a:ext cx="365352" cy="1058531"/>
            </a:xfrm>
            <a:custGeom>
              <a:avLst/>
              <a:gdLst>
                <a:gd name="connsiteX0" fmla="*/ 327764 w 365352"/>
                <a:gd name="connsiteY0" fmla="*/ 656232 h 1058531"/>
                <a:gd name="connsiteX1" fmla="*/ 356905 w 365352"/>
                <a:gd name="connsiteY1" fmla="*/ 520244 h 1058531"/>
                <a:gd name="connsiteX2" fmla="*/ 346334 w 365352"/>
                <a:gd name="connsiteY2" fmla="*/ 199698 h 1058531"/>
                <a:gd name="connsiteX3" fmla="*/ 360333 w 365352"/>
                <a:gd name="connsiteY3" fmla="*/ 115991 h 1058531"/>
                <a:gd name="connsiteX4" fmla="*/ 274340 w 365352"/>
                <a:gd name="connsiteY4" fmla="*/ 286 h 1058531"/>
                <a:gd name="connsiteX5" fmla="*/ 265484 w 365352"/>
                <a:gd name="connsiteY5" fmla="*/ 0 h 1058531"/>
                <a:gd name="connsiteX6" fmla="*/ 308052 w 365352"/>
                <a:gd name="connsiteY6" fmla="*/ 83708 h 1058531"/>
                <a:gd name="connsiteX7" fmla="*/ 254627 w 365352"/>
                <a:gd name="connsiteY7" fmla="*/ 191413 h 1058531"/>
                <a:gd name="connsiteX8" fmla="*/ 258913 w 365352"/>
                <a:gd name="connsiteY8" fmla="*/ 400825 h 1058531"/>
                <a:gd name="connsiteX9" fmla="*/ 204346 w 365352"/>
                <a:gd name="connsiteY9" fmla="*/ 679088 h 1058531"/>
                <a:gd name="connsiteX10" fmla="*/ 74071 w 365352"/>
                <a:gd name="connsiteY10" fmla="*/ 823362 h 1058531"/>
                <a:gd name="connsiteX11" fmla="*/ 77 w 365352"/>
                <a:gd name="connsiteY11" fmla="*/ 974778 h 1058531"/>
                <a:gd name="connsiteX12" fmla="*/ 23789 w 365352"/>
                <a:gd name="connsiteY12" fmla="*/ 1048201 h 1058531"/>
                <a:gd name="connsiteX13" fmla="*/ 35788 w 365352"/>
                <a:gd name="connsiteY13" fmla="*/ 1051915 h 1058531"/>
                <a:gd name="connsiteX14" fmla="*/ 143208 w 365352"/>
                <a:gd name="connsiteY14" fmla="*/ 1040201 h 1058531"/>
                <a:gd name="connsiteX15" fmla="*/ 86641 w 365352"/>
                <a:gd name="connsiteY15" fmla="*/ 1017346 h 1058531"/>
                <a:gd name="connsiteX16" fmla="*/ 140351 w 365352"/>
                <a:gd name="connsiteY16" fmla="*/ 917354 h 1058531"/>
                <a:gd name="connsiteX17" fmla="*/ 162635 w 365352"/>
                <a:gd name="connsiteY17" fmla="*/ 966493 h 1058531"/>
                <a:gd name="connsiteX18" fmla="*/ 219487 w 365352"/>
                <a:gd name="connsiteY18" fmla="*/ 876215 h 1058531"/>
                <a:gd name="connsiteX19" fmla="*/ 283768 w 365352"/>
                <a:gd name="connsiteY19" fmla="*/ 791079 h 1058531"/>
                <a:gd name="connsiteX20" fmla="*/ 327764 w 365352"/>
                <a:gd name="connsiteY20" fmla="*/ 656232 h 10585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365352" h="1058531">
                  <a:moveTo>
                    <a:pt x="327764" y="656232"/>
                  </a:moveTo>
                  <a:cubicBezTo>
                    <a:pt x="367761" y="608236"/>
                    <a:pt x="372904" y="578524"/>
                    <a:pt x="356905" y="520244"/>
                  </a:cubicBezTo>
                  <a:cubicBezTo>
                    <a:pt x="340906" y="461963"/>
                    <a:pt x="346334" y="199698"/>
                    <a:pt x="346334" y="199698"/>
                  </a:cubicBezTo>
                  <a:lnTo>
                    <a:pt x="360333" y="115991"/>
                  </a:lnTo>
                  <a:cubicBezTo>
                    <a:pt x="314623" y="-1714"/>
                    <a:pt x="274340" y="286"/>
                    <a:pt x="274340" y="286"/>
                  </a:cubicBezTo>
                  <a:cubicBezTo>
                    <a:pt x="271198" y="286"/>
                    <a:pt x="268626" y="286"/>
                    <a:pt x="265484" y="0"/>
                  </a:cubicBezTo>
                  <a:cubicBezTo>
                    <a:pt x="283768" y="20570"/>
                    <a:pt x="308052" y="45425"/>
                    <a:pt x="308052" y="83708"/>
                  </a:cubicBezTo>
                  <a:cubicBezTo>
                    <a:pt x="308052" y="127133"/>
                    <a:pt x="276626" y="140560"/>
                    <a:pt x="254627" y="191413"/>
                  </a:cubicBezTo>
                  <a:cubicBezTo>
                    <a:pt x="225487" y="258550"/>
                    <a:pt x="254627" y="293976"/>
                    <a:pt x="258913" y="400825"/>
                  </a:cubicBezTo>
                  <a:cubicBezTo>
                    <a:pt x="261484" y="465105"/>
                    <a:pt x="266341" y="581381"/>
                    <a:pt x="204346" y="679088"/>
                  </a:cubicBezTo>
                  <a:cubicBezTo>
                    <a:pt x="166063" y="739940"/>
                    <a:pt x="140637" y="731655"/>
                    <a:pt x="74071" y="823362"/>
                  </a:cubicBezTo>
                  <a:cubicBezTo>
                    <a:pt x="25503" y="890499"/>
                    <a:pt x="-1638" y="927639"/>
                    <a:pt x="77" y="974778"/>
                  </a:cubicBezTo>
                  <a:cubicBezTo>
                    <a:pt x="934" y="999348"/>
                    <a:pt x="9790" y="1024774"/>
                    <a:pt x="23789" y="1048201"/>
                  </a:cubicBezTo>
                  <a:cubicBezTo>
                    <a:pt x="27789" y="1049629"/>
                    <a:pt x="31788" y="1050772"/>
                    <a:pt x="35788" y="1051915"/>
                  </a:cubicBezTo>
                  <a:cubicBezTo>
                    <a:pt x="102068" y="1071913"/>
                    <a:pt x="143208" y="1040201"/>
                    <a:pt x="143208" y="1040201"/>
                  </a:cubicBezTo>
                  <a:cubicBezTo>
                    <a:pt x="143208" y="1040201"/>
                    <a:pt x="92069" y="1047629"/>
                    <a:pt x="86641" y="1017346"/>
                  </a:cubicBezTo>
                  <a:cubicBezTo>
                    <a:pt x="81213" y="987063"/>
                    <a:pt x="122924" y="912212"/>
                    <a:pt x="140351" y="917354"/>
                  </a:cubicBezTo>
                  <a:cubicBezTo>
                    <a:pt x="157778" y="922497"/>
                    <a:pt x="159492" y="933639"/>
                    <a:pt x="162635" y="966493"/>
                  </a:cubicBezTo>
                  <a:cubicBezTo>
                    <a:pt x="162635" y="966493"/>
                    <a:pt x="198918" y="952780"/>
                    <a:pt x="219487" y="876215"/>
                  </a:cubicBezTo>
                  <a:cubicBezTo>
                    <a:pt x="240057" y="799649"/>
                    <a:pt x="283768" y="791079"/>
                    <a:pt x="283768" y="791079"/>
                  </a:cubicBezTo>
                  <a:cubicBezTo>
                    <a:pt x="283768" y="791079"/>
                    <a:pt x="287482" y="704229"/>
                    <a:pt x="327764" y="656232"/>
                  </a:cubicBezTo>
                  <a:close/>
                </a:path>
              </a:pathLst>
            </a:custGeom>
            <a:solidFill>
              <a:srgbClr val="85FC2D"/>
            </a:solidFill>
            <a:ln w="2850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42" name="Freeform: Shape 1341">
              <a:extLst>
                <a:ext uri="{FF2B5EF4-FFF2-40B4-BE49-F238E27FC236}">
                  <a16:creationId xmlns:a16="http://schemas.microsoft.com/office/drawing/2014/main" id="{FB5CC1D0-A450-45CC-B9FA-6EDD5B36C690}"/>
                </a:ext>
              </a:extLst>
            </p:cNvPr>
            <p:cNvSpPr/>
            <p:nvPr/>
          </p:nvSpPr>
          <p:spPr>
            <a:xfrm>
              <a:off x="9584357" y="4608899"/>
              <a:ext cx="101991" cy="55021"/>
            </a:xfrm>
            <a:custGeom>
              <a:avLst/>
              <a:gdLst>
                <a:gd name="connsiteX0" fmla="*/ 45425 w 101991"/>
                <a:gd name="connsiteY0" fmla="*/ 13999 h 55021"/>
                <a:gd name="connsiteX1" fmla="*/ 45711 w 101991"/>
                <a:gd name="connsiteY1" fmla="*/ 0 h 55021"/>
                <a:gd name="connsiteX2" fmla="*/ 0 w 101991"/>
                <a:gd name="connsiteY2" fmla="*/ 49996 h 55021"/>
                <a:gd name="connsiteX3" fmla="*/ 101992 w 101991"/>
                <a:gd name="connsiteY3" fmla="*/ 36854 h 55021"/>
                <a:gd name="connsiteX4" fmla="*/ 45425 w 101991"/>
                <a:gd name="connsiteY4" fmla="*/ 13999 h 550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1991" h="55021">
                  <a:moveTo>
                    <a:pt x="45425" y="13999"/>
                  </a:moveTo>
                  <a:cubicBezTo>
                    <a:pt x="44854" y="9999"/>
                    <a:pt x="44854" y="5142"/>
                    <a:pt x="45711" y="0"/>
                  </a:cubicBezTo>
                  <a:cubicBezTo>
                    <a:pt x="28569" y="13142"/>
                    <a:pt x="20570" y="37425"/>
                    <a:pt x="0" y="49996"/>
                  </a:cubicBezTo>
                  <a:cubicBezTo>
                    <a:pt x="62852" y="66566"/>
                    <a:pt x="101992" y="36854"/>
                    <a:pt x="101992" y="36854"/>
                  </a:cubicBezTo>
                  <a:cubicBezTo>
                    <a:pt x="101992" y="36854"/>
                    <a:pt x="50853" y="44282"/>
                    <a:pt x="45425" y="13999"/>
                  </a:cubicBezTo>
                  <a:close/>
                </a:path>
              </a:pathLst>
            </a:custGeom>
            <a:solidFill>
              <a:srgbClr val="998592"/>
            </a:solidFill>
            <a:ln w="2850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43" name="Freeform: Shape 1342">
              <a:extLst>
                <a:ext uri="{FF2B5EF4-FFF2-40B4-BE49-F238E27FC236}">
                  <a16:creationId xmlns:a16="http://schemas.microsoft.com/office/drawing/2014/main" id="{CA5B2113-BFBB-4CBC-84F4-D7C992FD81CE}"/>
                </a:ext>
              </a:extLst>
            </p:cNvPr>
            <p:cNvSpPr/>
            <p:nvPr/>
          </p:nvSpPr>
          <p:spPr>
            <a:xfrm>
              <a:off x="9702062" y="4522049"/>
              <a:ext cx="46281" cy="50281"/>
            </a:xfrm>
            <a:custGeom>
              <a:avLst/>
              <a:gdLst>
                <a:gd name="connsiteX0" fmla="*/ 0 w 46281"/>
                <a:gd name="connsiteY0" fmla="*/ 20855 h 50281"/>
                <a:gd name="connsiteX1" fmla="*/ 4000 w 46281"/>
                <a:gd name="connsiteY1" fmla="*/ 50282 h 50281"/>
                <a:gd name="connsiteX2" fmla="*/ 46282 w 46281"/>
                <a:gd name="connsiteY2" fmla="*/ 0 h 50281"/>
                <a:gd name="connsiteX3" fmla="*/ 0 w 46281"/>
                <a:gd name="connsiteY3" fmla="*/ 20855 h 502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6281" h="50281">
                  <a:moveTo>
                    <a:pt x="0" y="20855"/>
                  </a:moveTo>
                  <a:cubicBezTo>
                    <a:pt x="1714" y="27998"/>
                    <a:pt x="2857" y="37426"/>
                    <a:pt x="4000" y="50282"/>
                  </a:cubicBezTo>
                  <a:cubicBezTo>
                    <a:pt x="4000" y="50282"/>
                    <a:pt x="26569" y="41425"/>
                    <a:pt x="46282" y="0"/>
                  </a:cubicBezTo>
                  <a:cubicBezTo>
                    <a:pt x="23141" y="12570"/>
                    <a:pt x="8856" y="18570"/>
                    <a:pt x="0" y="20855"/>
                  </a:cubicBezTo>
                  <a:close/>
                </a:path>
              </a:pathLst>
            </a:custGeom>
            <a:solidFill>
              <a:srgbClr val="998592"/>
            </a:solidFill>
            <a:ln w="2850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44" name="Freeform: Shape 1343">
              <a:extLst>
                <a:ext uri="{FF2B5EF4-FFF2-40B4-BE49-F238E27FC236}">
                  <a16:creationId xmlns:a16="http://schemas.microsoft.com/office/drawing/2014/main" id="{D821F563-A7EE-480C-B814-48A1F6D7685D}"/>
                </a:ext>
              </a:extLst>
            </p:cNvPr>
            <p:cNvSpPr/>
            <p:nvPr/>
          </p:nvSpPr>
          <p:spPr>
            <a:xfrm>
              <a:off x="6811153" y="4177842"/>
              <a:ext cx="465392" cy="101985"/>
            </a:xfrm>
            <a:custGeom>
              <a:avLst/>
              <a:gdLst>
                <a:gd name="connsiteX0" fmla="*/ 465391 w 465392"/>
                <a:gd name="connsiteY0" fmla="*/ 44232 h 101985"/>
                <a:gd name="connsiteX1" fmla="*/ 193413 w 465392"/>
                <a:gd name="connsiteY1" fmla="*/ 807 h 101985"/>
                <a:gd name="connsiteX2" fmla="*/ 96849 w 465392"/>
                <a:gd name="connsiteY2" fmla="*/ 12520 h 101985"/>
                <a:gd name="connsiteX3" fmla="*/ 0 w 465392"/>
                <a:gd name="connsiteY3" fmla="*/ 39661 h 101985"/>
                <a:gd name="connsiteX4" fmla="*/ 56567 w 465392"/>
                <a:gd name="connsiteY4" fmla="*/ 98513 h 101985"/>
                <a:gd name="connsiteX5" fmla="*/ 135989 w 465392"/>
                <a:gd name="connsiteY5" fmla="*/ 101941 h 101985"/>
                <a:gd name="connsiteX6" fmla="*/ 465391 w 465392"/>
                <a:gd name="connsiteY6" fmla="*/ 44232 h 1019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65392" h="101985">
                  <a:moveTo>
                    <a:pt x="465391" y="44232"/>
                  </a:moveTo>
                  <a:cubicBezTo>
                    <a:pt x="464819" y="20805"/>
                    <a:pt x="326545" y="-4907"/>
                    <a:pt x="193413" y="807"/>
                  </a:cubicBezTo>
                  <a:cubicBezTo>
                    <a:pt x="168843" y="1949"/>
                    <a:pt x="155130" y="2806"/>
                    <a:pt x="96849" y="12520"/>
                  </a:cubicBezTo>
                  <a:cubicBezTo>
                    <a:pt x="61424" y="18519"/>
                    <a:pt x="26284" y="25090"/>
                    <a:pt x="0" y="39661"/>
                  </a:cubicBezTo>
                  <a:cubicBezTo>
                    <a:pt x="12570" y="57945"/>
                    <a:pt x="30855" y="78229"/>
                    <a:pt x="56567" y="98513"/>
                  </a:cubicBezTo>
                  <a:cubicBezTo>
                    <a:pt x="81708" y="100513"/>
                    <a:pt x="108277" y="101941"/>
                    <a:pt x="135989" y="101941"/>
                  </a:cubicBezTo>
                  <a:cubicBezTo>
                    <a:pt x="293690" y="103370"/>
                    <a:pt x="465962" y="70229"/>
                    <a:pt x="465391" y="44232"/>
                  </a:cubicBezTo>
                  <a:close/>
                </a:path>
              </a:pathLst>
            </a:custGeom>
            <a:solidFill>
              <a:srgbClr val="2A3E33">
                <a:alpha val="94000"/>
              </a:srgbClr>
            </a:solidFill>
            <a:ln w="2850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45" name="Freeform: Shape 1344">
              <a:extLst>
                <a:ext uri="{FF2B5EF4-FFF2-40B4-BE49-F238E27FC236}">
                  <a16:creationId xmlns:a16="http://schemas.microsoft.com/office/drawing/2014/main" id="{B6C66E9A-5718-453E-8A3A-A4B9158A966C}"/>
                </a:ext>
              </a:extLst>
            </p:cNvPr>
            <p:cNvSpPr/>
            <p:nvPr/>
          </p:nvSpPr>
          <p:spPr>
            <a:xfrm>
              <a:off x="7190201" y="3690688"/>
              <a:ext cx="114054" cy="80039"/>
            </a:xfrm>
            <a:custGeom>
              <a:avLst/>
              <a:gdLst>
                <a:gd name="connsiteX0" fmla="*/ 32062 w 114054"/>
                <a:gd name="connsiteY0" fmla="*/ 52853 h 80039"/>
                <a:gd name="connsiteX1" fmla="*/ 8921 w 114054"/>
                <a:gd name="connsiteY1" fmla="*/ 42282 h 80039"/>
                <a:gd name="connsiteX2" fmla="*/ 1493 w 114054"/>
                <a:gd name="connsiteY2" fmla="*/ 29712 h 80039"/>
                <a:gd name="connsiteX3" fmla="*/ 10349 w 114054"/>
                <a:gd name="connsiteY3" fmla="*/ 69423 h 80039"/>
                <a:gd name="connsiteX4" fmla="*/ 33490 w 114054"/>
                <a:gd name="connsiteY4" fmla="*/ 79993 h 80039"/>
                <a:gd name="connsiteX5" fmla="*/ 90343 w 114054"/>
                <a:gd name="connsiteY5" fmla="*/ 22855 h 80039"/>
                <a:gd name="connsiteX6" fmla="*/ 114055 w 114054"/>
                <a:gd name="connsiteY6" fmla="*/ 7714 h 80039"/>
                <a:gd name="connsiteX7" fmla="*/ 88057 w 114054"/>
                <a:gd name="connsiteY7" fmla="*/ 0 h 80039"/>
                <a:gd name="connsiteX8" fmla="*/ 32062 w 114054"/>
                <a:gd name="connsiteY8" fmla="*/ 52853 h 800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054" h="80039">
                  <a:moveTo>
                    <a:pt x="32062" y="52853"/>
                  </a:moveTo>
                  <a:cubicBezTo>
                    <a:pt x="22348" y="53424"/>
                    <a:pt x="14634" y="48853"/>
                    <a:pt x="8921" y="42282"/>
                  </a:cubicBezTo>
                  <a:cubicBezTo>
                    <a:pt x="5492" y="38568"/>
                    <a:pt x="3207" y="34283"/>
                    <a:pt x="1493" y="29712"/>
                  </a:cubicBezTo>
                  <a:cubicBezTo>
                    <a:pt x="-1936" y="43139"/>
                    <a:pt x="350" y="57995"/>
                    <a:pt x="10349" y="69423"/>
                  </a:cubicBezTo>
                  <a:cubicBezTo>
                    <a:pt x="16063" y="75708"/>
                    <a:pt x="23491" y="80565"/>
                    <a:pt x="33490" y="79993"/>
                  </a:cubicBezTo>
                  <a:cubicBezTo>
                    <a:pt x="62916" y="78565"/>
                    <a:pt x="83200" y="72566"/>
                    <a:pt x="90343" y="22855"/>
                  </a:cubicBezTo>
                  <a:cubicBezTo>
                    <a:pt x="90343" y="22855"/>
                    <a:pt x="102056" y="9999"/>
                    <a:pt x="114055" y="7714"/>
                  </a:cubicBezTo>
                  <a:cubicBezTo>
                    <a:pt x="114055" y="7714"/>
                    <a:pt x="103199" y="3428"/>
                    <a:pt x="88057" y="0"/>
                  </a:cubicBezTo>
                  <a:cubicBezTo>
                    <a:pt x="80343" y="45711"/>
                    <a:pt x="60631" y="51424"/>
                    <a:pt x="32062" y="52853"/>
                  </a:cubicBezTo>
                  <a:close/>
                </a:path>
              </a:pathLst>
            </a:custGeom>
            <a:solidFill>
              <a:srgbClr val="00051F"/>
            </a:solidFill>
            <a:ln w="2850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46" name="Freeform: Shape 1345">
              <a:extLst>
                <a:ext uri="{FF2B5EF4-FFF2-40B4-BE49-F238E27FC236}">
                  <a16:creationId xmlns:a16="http://schemas.microsoft.com/office/drawing/2014/main" id="{710F596F-4B33-457B-B6F8-43A99EA8FD61}"/>
                </a:ext>
              </a:extLst>
            </p:cNvPr>
            <p:cNvSpPr/>
            <p:nvPr/>
          </p:nvSpPr>
          <p:spPr>
            <a:xfrm>
              <a:off x="7189639" y="3686037"/>
              <a:ext cx="115759" cy="85364"/>
            </a:xfrm>
            <a:custGeom>
              <a:avLst/>
              <a:gdLst>
                <a:gd name="connsiteX0" fmla="*/ 37481 w 115759"/>
                <a:gd name="connsiteY0" fmla="*/ 2365 h 85364"/>
                <a:gd name="connsiteX1" fmla="*/ 4055 w 115759"/>
                <a:gd name="connsiteY1" fmla="*/ 36648 h 85364"/>
                <a:gd name="connsiteX2" fmla="*/ 23196 w 115759"/>
                <a:gd name="connsiteY2" fmla="*/ 75502 h 85364"/>
                <a:gd name="connsiteX3" fmla="*/ 32338 w 115759"/>
                <a:gd name="connsiteY3" fmla="*/ 76931 h 85364"/>
                <a:gd name="connsiteX4" fmla="*/ 44337 w 115759"/>
                <a:gd name="connsiteY4" fmla="*/ 75217 h 85364"/>
                <a:gd name="connsiteX5" fmla="*/ 64050 w 115759"/>
                <a:gd name="connsiteY5" fmla="*/ 67503 h 85364"/>
                <a:gd name="connsiteX6" fmla="*/ 83477 w 115759"/>
                <a:gd name="connsiteY6" fmla="*/ 26649 h 85364"/>
                <a:gd name="connsiteX7" fmla="*/ 83762 w 115759"/>
                <a:gd name="connsiteY7" fmla="*/ 25221 h 85364"/>
                <a:gd name="connsiteX8" fmla="*/ 85191 w 115759"/>
                <a:gd name="connsiteY8" fmla="*/ 22935 h 85364"/>
                <a:gd name="connsiteX9" fmla="*/ 98047 w 115759"/>
                <a:gd name="connsiteY9" fmla="*/ 13507 h 85364"/>
                <a:gd name="connsiteX10" fmla="*/ 113189 w 115759"/>
                <a:gd name="connsiteY10" fmla="*/ 12079 h 85364"/>
                <a:gd name="connsiteX11" fmla="*/ 113189 w 115759"/>
                <a:gd name="connsiteY11" fmla="*/ 12936 h 85364"/>
                <a:gd name="connsiteX12" fmla="*/ 76334 w 115759"/>
                <a:gd name="connsiteY12" fmla="*/ 4365 h 85364"/>
                <a:gd name="connsiteX13" fmla="*/ 37481 w 115759"/>
                <a:gd name="connsiteY13" fmla="*/ 2365 h 85364"/>
                <a:gd name="connsiteX14" fmla="*/ 37481 w 115759"/>
                <a:gd name="connsiteY14" fmla="*/ 1223 h 85364"/>
                <a:gd name="connsiteX15" fmla="*/ 76906 w 115759"/>
                <a:gd name="connsiteY15" fmla="*/ 2080 h 85364"/>
                <a:gd name="connsiteX16" fmla="*/ 115188 w 115759"/>
                <a:gd name="connsiteY16" fmla="*/ 11793 h 85364"/>
                <a:gd name="connsiteX17" fmla="*/ 115760 w 115759"/>
                <a:gd name="connsiteY17" fmla="*/ 12650 h 85364"/>
                <a:gd name="connsiteX18" fmla="*/ 115188 w 115759"/>
                <a:gd name="connsiteY18" fmla="*/ 13222 h 85364"/>
                <a:gd name="connsiteX19" fmla="*/ 91762 w 115759"/>
                <a:gd name="connsiteY19" fmla="*/ 28078 h 85364"/>
                <a:gd name="connsiteX20" fmla="*/ 92048 w 115759"/>
                <a:gd name="connsiteY20" fmla="*/ 27506 h 85364"/>
                <a:gd name="connsiteX21" fmla="*/ 71192 w 115759"/>
                <a:gd name="connsiteY21" fmla="*/ 75217 h 85364"/>
                <a:gd name="connsiteX22" fmla="*/ 46337 w 115759"/>
                <a:gd name="connsiteY22" fmla="*/ 84359 h 85364"/>
                <a:gd name="connsiteX23" fmla="*/ 20053 w 115759"/>
                <a:gd name="connsiteY23" fmla="*/ 82073 h 85364"/>
                <a:gd name="connsiteX24" fmla="*/ 1198 w 115759"/>
                <a:gd name="connsiteY24" fmla="*/ 35506 h 85364"/>
                <a:gd name="connsiteX25" fmla="*/ 37481 w 115759"/>
                <a:gd name="connsiteY25" fmla="*/ 1223 h 853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15759" h="85364">
                  <a:moveTo>
                    <a:pt x="37481" y="2365"/>
                  </a:moveTo>
                  <a:cubicBezTo>
                    <a:pt x="20053" y="5222"/>
                    <a:pt x="6340" y="20078"/>
                    <a:pt x="4055" y="36648"/>
                  </a:cubicBezTo>
                  <a:cubicBezTo>
                    <a:pt x="1483" y="52933"/>
                    <a:pt x="10626" y="69789"/>
                    <a:pt x="23196" y="75502"/>
                  </a:cubicBezTo>
                  <a:cubicBezTo>
                    <a:pt x="26339" y="76931"/>
                    <a:pt x="29481" y="76931"/>
                    <a:pt x="32338" y="76931"/>
                  </a:cubicBezTo>
                  <a:cubicBezTo>
                    <a:pt x="35766" y="76645"/>
                    <a:pt x="40623" y="76074"/>
                    <a:pt x="44337" y="75217"/>
                  </a:cubicBezTo>
                  <a:cubicBezTo>
                    <a:pt x="52336" y="73788"/>
                    <a:pt x="59193" y="71788"/>
                    <a:pt x="64050" y="67503"/>
                  </a:cubicBezTo>
                  <a:cubicBezTo>
                    <a:pt x="74620" y="59504"/>
                    <a:pt x="79477" y="42934"/>
                    <a:pt x="83477" y="26649"/>
                  </a:cubicBezTo>
                  <a:lnTo>
                    <a:pt x="83762" y="25221"/>
                  </a:lnTo>
                  <a:cubicBezTo>
                    <a:pt x="84048" y="24364"/>
                    <a:pt x="84620" y="23507"/>
                    <a:pt x="85191" y="22935"/>
                  </a:cubicBezTo>
                  <a:cubicBezTo>
                    <a:pt x="89191" y="19221"/>
                    <a:pt x="93476" y="16079"/>
                    <a:pt x="98047" y="13507"/>
                  </a:cubicBezTo>
                  <a:cubicBezTo>
                    <a:pt x="102618" y="10936"/>
                    <a:pt x="107189" y="12936"/>
                    <a:pt x="113189" y="12079"/>
                  </a:cubicBezTo>
                  <a:lnTo>
                    <a:pt x="113189" y="12936"/>
                  </a:lnTo>
                  <a:cubicBezTo>
                    <a:pt x="101761" y="7794"/>
                    <a:pt x="88905" y="7222"/>
                    <a:pt x="76334" y="4365"/>
                  </a:cubicBezTo>
                  <a:cubicBezTo>
                    <a:pt x="63764" y="1508"/>
                    <a:pt x="50622" y="366"/>
                    <a:pt x="37481" y="2365"/>
                  </a:cubicBezTo>
                  <a:close/>
                  <a:moveTo>
                    <a:pt x="37481" y="1223"/>
                  </a:moveTo>
                  <a:cubicBezTo>
                    <a:pt x="50622" y="-777"/>
                    <a:pt x="63764" y="-206"/>
                    <a:pt x="76906" y="2080"/>
                  </a:cubicBezTo>
                  <a:cubicBezTo>
                    <a:pt x="90048" y="4080"/>
                    <a:pt x="102618" y="7508"/>
                    <a:pt x="115188" y="11793"/>
                  </a:cubicBezTo>
                  <a:cubicBezTo>
                    <a:pt x="115474" y="11793"/>
                    <a:pt x="115760" y="12365"/>
                    <a:pt x="115760" y="12650"/>
                  </a:cubicBezTo>
                  <a:cubicBezTo>
                    <a:pt x="115760" y="12936"/>
                    <a:pt x="115474" y="13222"/>
                    <a:pt x="115188" y="13222"/>
                  </a:cubicBezTo>
                  <a:cubicBezTo>
                    <a:pt x="106046" y="15222"/>
                    <a:pt x="98333" y="21507"/>
                    <a:pt x="91762" y="28078"/>
                  </a:cubicBezTo>
                  <a:lnTo>
                    <a:pt x="92048" y="27506"/>
                  </a:lnTo>
                  <a:cubicBezTo>
                    <a:pt x="89191" y="44362"/>
                    <a:pt x="85477" y="63503"/>
                    <a:pt x="71192" y="75217"/>
                  </a:cubicBezTo>
                  <a:cubicBezTo>
                    <a:pt x="64050" y="80930"/>
                    <a:pt x="55193" y="83216"/>
                    <a:pt x="46337" y="84359"/>
                  </a:cubicBezTo>
                  <a:cubicBezTo>
                    <a:pt x="37766" y="85216"/>
                    <a:pt x="28338" y="86930"/>
                    <a:pt x="20053" y="82073"/>
                  </a:cubicBezTo>
                  <a:cubicBezTo>
                    <a:pt x="4340" y="72931"/>
                    <a:pt x="-3088" y="52933"/>
                    <a:pt x="1198" y="35506"/>
                  </a:cubicBezTo>
                  <a:cubicBezTo>
                    <a:pt x="4912" y="18650"/>
                    <a:pt x="19768" y="3794"/>
                    <a:pt x="37481" y="1223"/>
                  </a:cubicBezTo>
                  <a:close/>
                </a:path>
              </a:pathLst>
            </a:custGeom>
            <a:solidFill>
              <a:srgbClr val="FFDDF3"/>
            </a:solidFill>
            <a:ln w="2850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47" name="Freeform: Shape 1346">
              <a:extLst>
                <a:ext uri="{FF2B5EF4-FFF2-40B4-BE49-F238E27FC236}">
                  <a16:creationId xmlns:a16="http://schemas.microsoft.com/office/drawing/2014/main" id="{941815E4-7E8D-46FB-846D-361C261EA8B4}"/>
                </a:ext>
              </a:extLst>
            </p:cNvPr>
            <p:cNvSpPr/>
            <p:nvPr/>
          </p:nvSpPr>
          <p:spPr>
            <a:xfrm>
              <a:off x="7909636" y="4238929"/>
              <a:ext cx="159129" cy="61709"/>
            </a:xfrm>
            <a:custGeom>
              <a:avLst/>
              <a:gdLst>
                <a:gd name="connsiteX0" fmla="*/ 159130 w 159129"/>
                <a:gd name="connsiteY0" fmla="*/ 0 h 61709"/>
                <a:gd name="connsiteX1" fmla="*/ 0 w 159129"/>
                <a:gd name="connsiteY1" fmla="*/ 32854 h 61709"/>
                <a:gd name="connsiteX2" fmla="*/ 27998 w 159129"/>
                <a:gd name="connsiteY2" fmla="*/ 61709 h 61709"/>
                <a:gd name="connsiteX3" fmla="*/ 49425 w 159129"/>
                <a:gd name="connsiteY3" fmla="*/ 54567 h 61709"/>
                <a:gd name="connsiteX4" fmla="*/ 159130 w 159129"/>
                <a:gd name="connsiteY4" fmla="*/ 0 h 617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9129" h="61709">
                  <a:moveTo>
                    <a:pt x="159130" y="0"/>
                  </a:moveTo>
                  <a:lnTo>
                    <a:pt x="0" y="32854"/>
                  </a:lnTo>
                  <a:cubicBezTo>
                    <a:pt x="9714" y="44282"/>
                    <a:pt x="18856" y="53710"/>
                    <a:pt x="27998" y="61709"/>
                  </a:cubicBezTo>
                  <a:cubicBezTo>
                    <a:pt x="34569" y="59424"/>
                    <a:pt x="41711" y="57138"/>
                    <a:pt x="49425" y="54567"/>
                  </a:cubicBezTo>
                  <a:cubicBezTo>
                    <a:pt x="119990" y="31712"/>
                    <a:pt x="155416" y="19713"/>
                    <a:pt x="159130" y="0"/>
                  </a:cubicBezTo>
                  <a:close/>
                </a:path>
              </a:pathLst>
            </a:custGeom>
            <a:solidFill>
              <a:srgbClr val="00051F"/>
            </a:solidFill>
            <a:ln w="2850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48" name="Freeform: Shape 1347">
              <a:extLst>
                <a:ext uri="{FF2B5EF4-FFF2-40B4-BE49-F238E27FC236}">
                  <a16:creationId xmlns:a16="http://schemas.microsoft.com/office/drawing/2014/main" id="{3EAD62D1-E8B8-4D9D-B6EA-A65925954451}"/>
                </a:ext>
              </a:extLst>
            </p:cNvPr>
            <p:cNvSpPr/>
            <p:nvPr/>
          </p:nvSpPr>
          <p:spPr>
            <a:xfrm>
              <a:off x="9461113" y="4324351"/>
              <a:ext cx="192666" cy="339651"/>
            </a:xfrm>
            <a:custGeom>
              <a:avLst/>
              <a:gdLst>
                <a:gd name="connsiteX0" fmla="*/ 192667 w 192666"/>
                <a:gd name="connsiteY0" fmla="*/ 335687 h 339651"/>
                <a:gd name="connsiteX1" fmla="*/ 49250 w 192666"/>
                <a:gd name="connsiteY1" fmla="*/ 123990 h 339651"/>
                <a:gd name="connsiteX2" fmla="*/ 76962 w 192666"/>
                <a:gd name="connsiteY2" fmla="*/ 0 h 339651"/>
                <a:gd name="connsiteX3" fmla="*/ 397 w 192666"/>
                <a:gd name="connsiteY3" fmla="*/ 154845 h 339651"/>
                <a:gd name="connsiteX4" fmla="*/ 117816 w 192666"/>
                <a:gd name="connsiteY4" fmla="*/ 333116 h 339651"/>
                <a:gd name="connsiteX5" fmla="*/ 192667 w 192666"/>
                <a:gd name="connsiteY5" fmla="*/ 335687 h 3396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92666" h="339651">
                  <a:moveTo>
                    <a:pt x="192667" y="335687"/>
                  </a:moveTo>
                  <a:cubicBezTo>
                    <a:pt x="141242" y="289977"/>
                    <a:pt x="56964" y="225696"/>
                    <a:pt x="49250" y="123990"/>
                  </a:cubicBezTo>
                  <a:cubicBezTo>
                    <a:pt x="45536" y="74851"/>
                    <a:pt x="60963" y="32855"/>
                    <a:pt x="76962" y="0"/>
                  </a:cubicBezTo>
                  <a:cubicBezTo>
                    <a:pt x="39536" y="39711"/>
                    <a:pt x="2968" y="93707"/>
                    <a:pt x="397" y="154845"/>
                  </a:cubicBezTo>
                  <a:cubicBezTo>
                    <a:pt x="-5317" y="284263"/>
                    <a:pt x="51535" y="313118"/>
                    <a:pt x="117816" y="333116"/>
                  </a:cubicBezTo>
                  <a:cubicBezTo>
                    <a:pt x="148670" y="342544"/>
                    <a:pt x="174097" y="340258"/>
                    <a:pt x="192667" y="335687"/>
                  </a:cubicBezTo>
                  <a:close/>
                </a:path>
              </a:pathLst>
            </a:custGeom>
            <a:solidFill>
              <a:srgbClr val="2A3E33">
                <a:alpha val="94000"/>
              </a:srgbClr>
            </a:solidFill>
            <a:ln w="2850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49" name="Freeform: Shape 1348">
              <a:extLst>
                <a:ext uri="{FF2B5EF4-FFF2-40B4-BE49-F238E27FC236}">
                  <a16:creationId xmlns:a16="http://schemas.microsoft.com/office/drawing/2014/main" id="{C6680952-D036-459D-9E7A-98FC7AD37788}"/>
                </a:ext>
              </a:extLst>
            </p:cNvPr>
            <p:cNvSpPr/>
            <p:nvPr/>
          </p:nvSpPr>
          <p:spPr>
            <a:xfrm>
              <a:off x="6781442" y="3074167"/>
              <a:ext cx="28569" cy="28569"/>
            </a:xfrm>
            <a:custGeom>
              <a:avLst/>
              <a:gdLst/>
              <a:ahLst/>
              <a:cxnLst/>
              <a:rect l="l" t="t" r="r" b="b"/>
              <a:pathLst>
                <a:path w="28569" h="28569"/>
              </a:pathLst>
            </a:custGeom>
            <a:solidFill>
              <a:srgbClr val="00051F"/>
            </a:solidFill>
            <a:ln w="2850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50" name="Freeform: Shape 1349">
              <a:extLst>
                <a:ext uri="{FF2B5EF4-FFF2-40B4-BE49-F238E27FC236}">
                  <a16:creationId xmlns:a16="http://schemas.microsoft.com/office/drawing/2014/main" id="{2658EC17-E3CE-4E7A-B985-0B99B1FA1296}"/>
                </a:ext>
              </a:extLst>
            </p:cNvPr>
            <p:cNvSpPr/>
            <p:nvPr/>
          </p:nvSpPr>
          <p:spPr>
            <a:xfrm>
              <a:off x="9058060" y="3150732"/>
              <a:ext cx="294316" cy="398952"/>
            </a:xfrm>
            <a:custGeom>
              <a:avLst/>
              <a:gdLst>
                <a:gd name="connsiteX0" fmla="*/ 226036 w 294316"/>
                <a:gd name="connsiteY0" fmla="*/ 343115 h 398952"/>
                <a:gd name="connsiteX1" fmla="*/ 120902 w 294316"/>
                <a:gd name="connsiteY1" fmla="*/ 304261 h 398952"/>
                <a:gd name="connsiteX2" fmla="*/ 231464 w 294316"/>
                <a:gd name="connsiteY2" fmla="*/ 259122 h 398952"/>
                <a:gd name="connsiteX3" fmla="*/ 191468 w 294316"/>
                <a:gd name="connsiteY3" fmla="*/ 147988 h 398952"/>
                <a:gd name="connsiteX4" fmla="*/ 294316 w 294316"/>
                <a:gd name="connsiteY4" fmla="*/ 71423 h 398952"/>
                <a:gd name="connsiteX5" fmla="*/ 54050 w 294316"/>
                <a:gd name="connsiteY5" fmla="*/ 0 h 398952"/>
                <a:gd name="connsiteX6" fmla="*/ 32909 w 294316"/>
                <a:gd name="connsiteY6" fmla="*/ 121990 h 398952"/>
                <a:gd name="connsiteX7" fmla="*/ 105760 w 294316"/>
                <a:gd name="connsiteY7" fmla="*/ 201698 h 398952"/>
                <a:gd name="connsiteX8" fmla="*/ 340 w 294316"/>
                <a:gd name="connsiteY8" fmla="*/ 251408 h 398952"/>
                <a:gd name="connsiteX9" fmla="*/ 47765 w 294316"/>
                <a:gd name="connsiteY9" fmla="*/ 312832 h 398952"/>
                <a:gd name="connsiteX10" fmla="*/ 106046 w 294316"/>
                <a:gd name="connsiteY10" fmla="*/ 393397 h 398952"/>
                <a:gd name="connsiteX11" fmla="*/ 226036 w 294316"/>
                <a:gd name="connsiteY11" fmla="*/ 343115 h 3989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94316" h="398952">
                  <a:moveTo>
                    <a:pt x="226036" y="343115"/>
                  </a:moveTo>
                  <a:cubicBezTo>
                    <a:pt x="221751" y="317689"/>
                    <a:pt x="120616" y="317974"/>
                    <a:pt x="120902" y="304261"/>
                  </a:cubicBezTo>
                  <a:cubicBezTo>
                    <a:pt x="121188" y="291405"/>
                    <a:pt x="210609" y="299404"/>
                    <a:pt x="231464" y="259122"/>
                  </a:cubicBezTo>
                  <a:cubicBezTo>
                    <a:pt x="248606" y="225982"/>
                    <a:pt x="185468" y="193699"/>
                    <a:pt x="191468" y="147988"/>
                  </a:cubicBezTo>
                  <a:cubicBezTo>
                    <a:pt x="196324" y="108848"/>
                    <a:pt x="246320" y="89993"/>
                    <a:pt x="294316" y="71423"/>
                  </a:cubicBezTo>
                  <a:cubicBezTo>
                    <a:pt x="214323" y="41425"/>
                    <a:pt x="133472" y="17999"/>
                    <a:pt x="54050" y="0"/>
                  </a:cubicBezTo>
                  <a:cubicBezTo>
                    <a:pt x="29766" y="43996"/>
                    <a:pt x="20339" y="90850"/>
                    <a:pt x="32909" y="121990"/>
                  </a:cubicBezTo>
                  <a:cubicBezTo>
                    <a:pt x="50336" y="165415"/>
                    <a:pt x="111188" y="178557"/>
                    <a:pt x="105760" y="201698"/>
                  </a:cubicBezTo>
                  <a:cubicBezTo>
                    <a:pt x="99189" y="229981"/>
                    <a:pt x="6911" y="221125"/>
                    <a:pt x="340" y="251408"/>
                  </a:cubicBezTo>
                  <a:cubicBezTo>
                    <a:pt x="-2803" y="265407"/>
                    <a:pt x="16053" y="272835"/>
                    <a:pt x="47765" y="312832"/>
                  </a:cubicBezTo>
                  <a:cubicBezTo>
                    <a:pt x="87476" y="362828"/>
                    <a:pt x="82905" y="382540"/>
                    <a:pt x="106046" y="393397"/>
                  </a:cubicBezTo>
                  <a:cubicBezTo>
                    <a:pt x="151757" y="415395"/>
                    <a:pt x="230036" y="366542"/>
                    <a:pt x="226036" y="343115"/>
                  </a:cubicBezTo>
                  <a:close/>
                </a:path>
              </a:pathLst>
            </a:custGeom>
            <a:solidFill>
              <a:srgbClr val="D1C025"/>
            </a:solidFill>
            <a:ln w="2850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grpSp>
          <p:nvGrpSpPr>
            <p:cNvPr id="1351" name="Graphic 1287">
              <a:extLst>
                <a:ext uri="{FF2B5EF4-FFF2-40B4-BE49-F238E27FC236}">
                  <a16:creationId xmlns:a16="http://schemas.microsoft.com/office/drawing/2014/main" id="{3AF0CC9A-49BC-41AD-A10C-81F1C9646867}"/>
                </a:ext>
              </a:extLst>
            </p:cNvPr>
            <p:cNvGrpSpPr/>
            <p:nvPr/>
          </p:nvGrpSpPr>
          <p:grpSpPr>
            <a:xfrm>
              <a:off x="8603417" y="3076810"/>
              <a:ext cx="342893" cy="418074"/>
              <a:chOff x="8603417" y="3076810"/>
              <a:chExt cx="342893" cy="418074"/>
            </a:xfrm>
          </p:grpSpPr>
          <p:sp>
            <p:nvSpPr>
              <p:cNvPr id="1352" name="Freeform: Shape 1351">
                <a:extLst>
                  <a:ext uri="{FF2B5EF4-FFF2-40B4-BE49-F238E27FC236}">
                    <a16:creationId xmlns:a16="http://schemas.microsoft.com/office/drawing/2014/main" id="{8DD8F2AE-5470-47F3-BD14-2FFD044AB8A0}"/>
                  </a:ext>
                </a:extLst>
              </p:cNvPr>
              <p:cNvSpPr/>
              <p:nvPr/>
            </p:nvSpPr>
            <p:spPr>
              <a:xfrm>
                <a:off x="8715856" y="3083918"/>
                <a:ext cx="85707" cy="22246"/>
              </a:xfrm>
              <a:custGeom>
                <a:avLst/>
                <a:gdLst>
                  <a:gd name="connsiteX0" fmla="*/ 57995 w 85707"/>
                  <a:gd name="connsiteY0" fmla="*/ 2533 h 22246"/>
                  <a:gd name="connsiteX1" fmla="*/ 42282 w 85707"/>
                  <a:gd name="connsiteY1" fmla="*/ 1105 h 22246"/>
                  <a:gd name="connsiteX2" fmla="*/ 9428 w 85707"/>
                  <a:gd name="connsiteY2" fmla="*/ 18818 h 22246"/>
                  <a:gd name="connsiteX3" fmla="*/ 0 w 85707"/>
                  <a:gd name="connsiteY3" fmla="*/ 18532 h 22246"/>
                  <a:gd name="connsiteX4" fmla="*/ 85707 w 85707"/>
                  <a:gd name="connsiteY4" fmla="*/ 22246 h 22246"/>
                  <a:gd name="connsiteX5" fmla="*/ 57995 w 85707"/>
                  <a:gd name="connsiteY5" fmla="*/ 2533 h 222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85707" h="22246">
                    <a:moveTo>
                      <a:pt x="57995" y="2533"/>
                    </a:moveTo>
                    <a:cubicBezTo>
                      <a:pt x="54567" y="-38"/>
                      <a:pt x="45996" y="-895"/>
                      <a:pt x="42282" y="1105"/>
                    </a:cubicBezTo>
                    <a:cubicBezTo>
                      <a:pt x="31140" y="6533"/>
                      <a:pt x="20284" y="12533"/>
                      <a:pt x="9428" y="18818"/>
                    </a:cubicBezTo>
                    <a:cubicBezTo>
                      <a:pt x="6285" y="18818"/>
                      <a:pt x="3143" y="18818"/>
                      <a:pt x="0" y="18532"/>
                    </a:cubicBezTo>
                    <a:cubicBezTo>
                      <a:pt x="27998" y="19103"/>
                      <a:pt x="56567" y="20246"/>
                      <a:pt x="85707" y="22246"/>
                    </a:cubicBezTo>
                    <a:cubicBezTo>
                      <a:pt x="76565" y="15961"/>
                      <a:pt x="67423" y="9390"/>
                      <a:pt x="57995" y="2533"/>
                    </a:cubicBezTo>
                    <a:close/>
                  </a:path>
                </a:pathLst>
              </a:custGeom>
              <a:solidFill>
                <a:srgbClr val="FFE123"/>
              </a:solidFill>
              <a:ln w="2850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353" name="Freeform: Shape 1352">
                <a:extLst>
                  <a:ext uri="{FF2B5EF4-FFF2-40B4-BE49-F238E27FC236}">
                    <a16:creationId xmlns:a16="http://schemas.microsoft.com/office/drawing/2014/main" id="{A4520E64-9435-41B9-9F24-381A30ADE9F5}"/>
                  </a:ext>
                </a:extLst>
              </p:cNvPr>
              <p:cNvSpPr/>
              <p:nvPr/>
            </p:nvSpPr>
            <p:spPr>
              <a:xfrm>
                <a:off x="8650147" y="3191242"/>
                <a:ext cx="296163" cy="303642"/>
              </a:xfrm>
              <a:custGeom>
                <a:avLst/>
                <a:gdLst>
                  <a:gd name="connsiteX0" fmla="*/ 136560 w 296163"/>
                  <a:gd name="connsiteY0" fmla="*/ 92336 h 303642"/>
                  <a:gd name="connsiteX1" fmla="*/ 84565 w 296163"/>
                  <a:gd name="connsiteY1" fmla="*/ 227754 h 303642"/>
                  <a:gd name="connsiteX2" fmla="*/ 152273 w 296163"/>
                  <a:gd name="connsiteY2" fmla="*/ 302890 h 303642"/>
                  <a:gd name="connsiteX3" fmla="*/ 181128 w 296163"/>
                  <a:gd name="connsiteY3" fmla="*/ 198042 h 303642"/>
                  <a:gd name="connsiteX4" fmla="*/ 294833 w 296163"/>
                  <a:gd name="connsiteY4" fmla="*/ 113763 h 303642"/>
                  <a:gd name="connsiteX5" fmla="*/ 215697 w 296163"/>
                  <a:gd name="connsiteY5" fmla="*/ 8914 h 303642"/>
                  <a:gd name="connsiteX6" fmla="*/ 0 w 296163"/>
                  <a:gd name="connsiteY6" fmla="*/ 58 h 303642"/>
                  <a:gd name="connsiteX7" fmla="*/ 136560 w 296163"/>
                  <a:gd name="connsiteY7" fmla="*/ 92336 h 3036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96163" h="303642">
                    <a:moveTo>
                      <a:pt x="136560" y="92336"/>
                    </a:moveTo>
                    <a:cubicBezTo>
                      <a:pt x="142274" y="140904"/>
                      <a:pt x="75708" y="166901"/>
                      <a:pt x="84565" y="227754"/>
                    </a:cubicBezTo>
                    <a:cubicBezTo>
                      <a:pt x="90850" y="272036"/>
                      <a:pt x="133132" y="309461"/>
                      <a:pt x="152273" y="302890"/>
                    </a:cubicBezTo>
                    <a:cubicBezTo>
                      <a:pt x="172272" y="296034"/>
                      <a:pt x="151416" y="246609"/>
                      <a:pt x="181128" y="198042"/>
                    </a:cubicBezTo>
                    <a:cubicBezTo>
                      <a:pt x="217125" y="140046"/>
                      <a:pt x="283977" y="151474"/>
                      <a:pt x="294833" y="113763"/>
                    </a:cubicBezTo>
                    <a:cubicBezTo>
                      <a:pt x="305404" y="77766"/>
                      <a:pt x="250551" y="47197"/>
                      <a:pt x="215697" y="8914"/>
                    </a:cubicBezTo>
                    <a:cubicBezTo>
                      <a:pt x="138846" y="3200"/>
                      <a:pt x="67137" y="-514"/>
                      <a:pt x="0" y="58"/>
                    </a:cubicBezTo>
                    <a:cubicBezTo>
                      <a:pt x="52281" y="30912"/>
                      <a:pt x="130561" y="41197"/>
                      <a:pt x="136560" y="92336"/>
                    </a:cubicBezTo>
                    <a:close/>
                  </a:path>
                </a:pathLst>
              </a:custGeom>
              <a:solidFill>
                <a:srgbClr val="D1C025"/>
              </a:solidFill>
              <a:ln w="2850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354" name="Freeform: Shape 1353">
                <a:extLst>
                  <a:ext uri="{FF2B5EF4-FFF2-40B4-BE49-F238E27FC236}">
                    <a16:creationId xmlns:a16="http://schemas.microsoft.com/office/drawing/2014/main" id="{5656A7A8-58CD-4E14-83E6-214C76AE71EC}"/>
                  </a:ext>
                </a:extLst>
              </p:cNvPr>
              <p:cNvSpPr/>
              <p:nvPr/>
            </p:nvSpPr>
            <p:spPr>
              <a:xfrm>
                <a:off x="8632720" y="3076810"/>
                <a:ext cx="80564" cy="25925"/>
              </a:xfrm>
              <a:custGeom>
                <a:avLst/>
                <a:gdLst>
                  <a:gd name="connsiteX0" fmla="*/ 49424 w 80564"/>
                  <a:gd name="connsiteY0" fmla="*/ 2499 h 25925"/>
                  <a:gd name="connsiteX1" fmla="*/ 33712 w 80564"/>
                  <a:gd name="connsiteY1" fmla="*/ 1642 h 25925"/>
                  <a:gd name="connsiteX2" fmla="*/ 0 w 80564"/>
                  <a:gd name="connsiteY2" fmla="*/ 25926 h 25925"/>
                  <a:gd name="connsiteX3" fmla="*/ 80565 w 80564"/>
                  <a:gd name="connsiteY3" fmla="*/ 25640 h 25925"/>
                  <a:gd name="connsiteX4" fmla="*/ 49424 w 80564"/>
                  <a:gd name="connsiteY4" fmla="*/ 2499 h 259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0564" h="25925">
                    <a:moveTo>
                      <a:pt x="49424" y="2499"/>
                    </a:moveTo>
                    <a:cubicBezTo>
                      <a:pt x="45711" y="-358"/>
                      <a:pt x="37425" y="-929"/>
                      <a:pt x="33712" y="1642"/>
                    </a:cubicBezTo>
                    <a:cubicBezTo>
                      <a:pt x="22284" y="9070"/>
                      <a:pt x="11142" y="17355"/>
                      <a:pt x="0" y="25926"/>
                    </a:cubicBezTo>
                    <a:cubicBezTo>
                      <a:pt x="25998" y="25354"/>
                      <a:pt x="52853" y="25069"/>
                      <a:pt x="80565" y="25640"/>
                    </a:cubicBezTo>
                    <a:cubicBezTo>
                      <a:pt x="70280" y="18212"/>
                      <a:pt x="59709" y="10498"/>
                      <a:pt x="49424" y="2499"/>
                    </a:cubicBezTo>
                    <a:close/>
                  </a:path>
                </a:pathLst>
              </a:custGeom>
              <a:solidFill>
                <a:srgbClr val="FFE123"/>
              </a:solidFill>
              <a:ln w="2850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355" name="Freeform: Shape 1354">
                <a:extLst>
                  <a:ext uri="{FF2B5EF4-FFF2-40B4-BE49-F238E27FC236}">
                    <a16:creationId xmlns:a16="http://schemas.microsoft.com/office/drawing/2014/main" id="{86C6B7E5-AD03-44D4-B76A-60C19C6C248E}"/>
                  </a:ext>
                </a:extLst>
              </p:cNvPr>
              <p:cNvSpPr/>
              <p:nvPr/>
            </p:nvSpPr>
            <p:spPr>
              <a:xfrm>
                <a:off x="8604722" y="3090451"/>
                <a:ext cx="19427" cy="13427"/>
              </a:xfrm>
              <a:custGeom>
                <a:avLst/>
                <a:gdLst>
                  <a:gd name="connsiteX0" fmla="*/ 19141 w 19427"/>
                  <a:gd name="connsiteY0" fmla="*/ 12570 h 13427"/>
                  <a:gd name="connsiteX1" fmla="*/ 2571 w 19427"/>
                  <a:gd name="connsiteY1" fmla="*/ 0 h 13427"/>
                  <a:gd name="connsiteX2" fmla="*/ 0 w 19427"/>
                  <a:gd name="connsiteY2" fmla="*/ 13427 h 13427"/>
                  <a:gd name="connsiteX3" fmla="*/ 19427 w 19427"/>
                  <a:gd name="connsiteY3" fmla="*/ 12856 h 13427"/>
                  <a:gd name="connsiteX4" fmla="*/ 19141 w 19427"/>
                  <a:gd name="connsiteY4" fmla="*/ 12570 h 134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9427" h="13427">
                    <a:moveTo>
                      <a:pt x="19141" y="12570"/>
                    </a:moveTo>
                    <a:cubicBezTo>
                      <a:pt x="13713" y="8285"/>
                      <a:pt x="8285" y="4285"/>
                      <a:pt x="2571" y="0"/>
                    </a:cubicBezTo>
                    <a:cubicBezTo>
                      <a:pt x="1428" y="4571"/>
                      <a:pt x="571" y="8856"/>
                      <a:pt x="0" y="13427"/>
                    </a:cubicBezTo>
                    <a:cubicBezTo>
                      <a:pt x="6285" y="13142"/>
                      <a:pt x="12856" y="12856"/>
                      <a:pt x="19427" y="12856"/>
                    </a:cubicBezTo>
                    <a:cubicBezTo>
                      <a:pt x="19427" y="12570"/>
                      <a:pt x="19427" y="12570"/>
                      <a:pt x="19141" y="12570"/>
                    </a:cubicBezTo>
                    <a:close/>
                  </a:path>
                </a:pathLst>
              </a:custGeom>
              <a:solidFill>
                <a:srgbClr val="FFE123"/>
              </a:solidFill>
              <a:ln w="2850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356" name="Freeform: Shape 1355">
                <a:extLst>
                  <a:ext uri="{FF2B5EF4-FFF2-40B4-BE49-F238E27FC236}">
                    <a16:creationId xmlns:a16="http://schemas.microsoft.com/office/drawing/2014/main" id="{61CF3A76-A986-4E0D-8E80-2CCCCF043C3C}"/>
                  </a:ext>
                </a:extLst>
              </p:cNvPr>
              <p:cNvSpPr/>
              <p:nvPr/>
            </p:nvSpPr>
            <p:spPr>
              <a:xfrm>
                <a:off x="8818991" y="3095076"/>
                <a:ext cx="39996" cy="14516"/>
              </a:xfrm>
              <a:custGeom>
                <a:avLst/>
                <a:gdLst>
                  <a:gd name="connsiteX0" fmla="*/ 39997 w 39996"/>
                  <a:gd name="connsiteY0" fmla="*/ 803 h 14516"/>
                  <a:gd name="connsiteX1" fmla="*/ 30283 w 39996"/>
                  <a:gd name="connsiteY1" fmla="*/ 517 h 14516"/>
                  <a:gd name="connsiteX2" fmla="*/ 0 w 39996"/>
                  <a:gd name="connsiteY2" fmla="*/ 12231 h 14516"/>
                  <a:gd name="connsiteX3" fmla="*/ 29998 w 39996"/>
                  <a:gd name="connsiteY3" fmla="*/ 14516 h 14516"/>
                  <a:gd name="connsiteX4" fmla="*/ 39997 w 39996"/>
                  <a:gd name="connsiteY4" fmla="*/ 803 h 145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9996" h="14516">
                    <a:moveTo>
                      <a:pt x="39997" y="803"/>
                    </a:moveTo>
                    <a:cubicBezTo>
                      <a:pt x="36568" y="-54"/>
                      <a:pt x="32569" y="-340"/>
                      <a:pt x="30283" y="517"/>
                    </a:cubicBezTo>
                    <a:cubicBezTo>
                      <a:pt x="20284" y="3660"/>
                      <a:pt x="9999" y="7945"/>
                      <a:pt x="0" y="12231"/>
                    </a:cubicBezTo>
                    <a:cubicBezTo>
                      <a:pt x="9999" y="13088"/>
                      <a:pt x="19998" y="13659"/>
                      <a:pt x="29998" y="14516"/>
                    </a:cubicBezTo>
                    <a:cubicBezTo>
                      <a:pt x="32855" y="9945"/>
                      <a:pt x="35997" y="5374"/>
                      <a:pt x="39997" y="803"/>
                    </a:cubicBezTo>
                    <a:close/>
                  </a:path>
                </a:pathLst>
              </a:custGeom>
              <a:solidFill>
                <a:srgbClr val="FFE123"/>
              </a:solidFill>
              <a:ln w="2850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357" name="Freeform: Shape 1356">
                <a:extLst>
                  <a:ext uri="{FF2B5EF4-FFF2-40B4-BE49-F238E27FC236}">
                    <a16:creationId xmlns:a16="http://schemas.microsoft.com/office/drawing/2014/main" id="{ED5ADAE8-6714-4AB9-B4D4-3F667D4AA496}"/>
                  </a:ext>
                </a:extLst>
              </p:cNvPr>
              <p:cNvSpPr/>
              <p:nvPr/>
            </p:nvSpPr>
            <p:spPr>
              <a:xfrm>
                <a:off x="8801849" y="3106164"/>
                <a:ext cx="17141" cy="1142"/>
              </a:xfrm>
              <a:custGeom>
                <a:avLst/>
                <a:gdLst>
                  <a:gd name="connsiteX0" fmla="*/ 17141 w 17141"/>
                  <a:gd name="connsiteY0" fmla="*/ 1143 h 1142"/>
                  <a:gd name="connsiteX1" fmla="*/ 17141 w 17141"/>
                  <a:gd name="connsiteY1" fmla="*/ 1143 h 1142"/>
                  <a:gd name="connsiteX2" fmla="*/ 0 w 17141"/>
                  <a:gd name="connsiteY2" fmla="*/ 0 h 1142"/>
                  <a:gd name="connsiteX3" fmla="*/ 0 w 17141"/>
                  <a:gd name="connsiteY3" fmla="*/ 0 h 1142"/>
                  <a:gd name="connsiteX4" fmla="*/ 17141 w 17141"/>
                  <a:gd name="connsiteY4" fmla="*/ 1143 h 11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141" h="1142">
                    <a:moveTo>
                      <a:pt x="17141" y="1143"/>
                    </a:moveTo>
                    <a:lnTo>
                      <a:pt x="17141" y="1143"/>
                    </a:lnTo>
                    <a:cubicBezTo>
                      <a:pt x="11428" y="857"/>
                      <a:pt x="5714" y="286"/>
                      <a:pt x="0" y="0"/>
                    </a:cubicBezTo>
                    <a:lnTo>
                      <a:pt x="0" y="0"/>
                    </a:lnTo>
                    <a:cubicBezTo>
                      <a:pt x="5428" y="286"/>
                      <a:pt x="11428" y="857"/>
                      <a:pt x="17141" y="1143"/>
                    </a:cubicBezTo>
                    <a:close/>
                  </a:path>
                </a:pathLst>
              </a:custGeom>
              <a:solidFill>
                <a:srgbClr val="73D927"/>
              </a:solidFill>
              <a:ln w="2850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358" name="Freeform: Shape 1357">
                <a:extLst>
                  <a:ext uri="{FF2B5EF4-FFF2-40B4-BE49-F238E27FC236}">
                    <a16:creationId xmlns:a16="http://schemas.microsoft.com/office/drawing/2014/main" id="{FF8F04B8-9BBA-4364-A89B-E6A09A4D0B8A}"/>
                  </a:ext>
                </a:extLst>
              </p:cNvPr>
              <p:cNvSpPr/>
              <p:nvPr/>
            </p:nvSpPr>
            <p:spPr>
              <a:xfrm>
                <a:off x="8624149" y="3102736"/>
                <a:ext cx="8570" cy="285"/>
              </a:xfrm>
              <a:custGeom>
                <a:avLst/>
                <a:gdLst>
                  <a:gd name="connsiteX0" fmla="*/ 8571 w 8570"/>
                  <a:gd name="connsiteY0" fmla="*/ 0 h 285"/>
                  <a:gd name="connsiteX1" fmla="*/ 0 w 8570"/>
                  <a:gd name="connsiteY1" fmla="*/ 286 h 285"/>
                  <a:gd name="connsiteX2" fmla="*/ 8571 w 8570"/>
                  <a:gd name="connsiteY2" fmla="*/ 0 h 285"/>
                  <a:gd name="connsiteX3" fmla="*/ 8571 w 8570"/>
                  <a:gd name="connsiteY3" fmla="*/ 0 h 2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570" h="285">
                    <a:moveTo>
                      <a:pt x="8571" y="0"/>
                    </a:moveTo>
                    <a:cubicBezTo>
                      <a:pt x="5714" y="0"/>
                      <a:pt x="2857" y="0"/>
                      <a:pt x="0" y="286"/>
                    </a:cubicBezTo>
                    <a:cubicBezTo>
                      <a:pt x="2857" y="0"/>
                      <a:pt x="5714" y="0"/>
                      <a:pt x="8571" y="0"/>
                    </a:cubicBezTo>
                    <a:lnTo>
                      <a:pt x="8571" y="0"/>
                    </a:lnTo>
                    <a:close/>
                  </a:path>
                </a:pathLst>
              </a:custGeom>
              <a:solidFill>
                <a:srgbClr val="73D927"/>
              </a:solidFill>
              <a:ln w="2850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359" name="Freeform: Shape 1358">
                <a:extLst>
                  <a:ext uri="{FF2B5EF4-FFF2-40B4-BE49-F238E27FC236}">
                    <a16:creationId xmlns:a16="http://schemas.microsoft.com/office/drawing/2014/main" id="{73110F5B-E0CE-4401-AC94-3BFB3A8FD9CF}"/>
                  </a:ext>
                </a:extLst>
              </p:cNvPr>
              <p:cNvSpPr/>
              <p:nvPr/>
            </p:nvSpPr>
            <p:spPr>
              <a:xfrm>
                <a:off x="8712999" y="3102450"/>
                <a:ext cx="2856" cy="28569"/>
              </a:xfrm>
              <a:custGeom>
                <a:avLst/>
                <a:gdLst>
                  <a:gd name="connsiteX0" fmla="*/ 2857 w 2856"/>
                  <a:gd name="connsiteY0" fmla="*/ 0 h 28569"/>
                  <a:gd name="connsiteX1" fmla="*/ 0 w 2856"/>
                  <a:gd name="connsiteY1" fmla="*/ 0 h 28569"/>
                  <a:gd name="connsiteX2" fmla="*/ 0 w 2856"/>
                  <a:gd name="connsiteY2" fmla="*/ 0 h 28569"/>
                  <a:gd name="connsiteX3" fmla="*/ 2857 w 2856"/>
                  <a:gd name="connsiteY3" fmla="*/ 0 h 285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856" h="28569">
                    <a:moveTo>
                      <a:pt x="2857" y="0"/>
                    </a:moveTo>
                    <a:cubicBezTo>
                      <a:pt x="2000" y="0"/>
                      <a:pt x="857" y="0"/>
                      <a:pt x="0" y="0"/>
                    </a:cubicBezTo>
                    <a:lnTo>
                      <a:pt x="0" y="0"/>
                    </a:lnTo>
                    <a:cubicBezTo>
                      <a:pt x="1143" y="0"/>
                      <a:pt x="2000" y="0"/>
                      <a:pt x="2857" y="0"/>
                    </a:cubicBezTo>
                    <a:close/>
                  </a:path>
                </a:pathLst>
              </a:custGeom>
              <a:solidFill>
                <a:srgbClr val="73D927"/>
              </a:solidFill>
              <a:ln w="2850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360" name="Freeform: Shape 1359">
                <a:extLst>
                  <a:ext uri="{FF2B5EF4-FFF2-40B4-BE49-F238E27FC236}">
                    <a16:creationId xmlns:a16="http://schemas.microsoft.com/office/drawing/2014/main" id="{84090B5A-20A3-4602-BCEA-93E34DFEF3FF}"/>
                  </a:ext>
                </a:extLst>
              </p:cNvPr>
              <p:cNvSpPr/>
              <p:nvPr/>
            </p:nvSpPr>
            <p:spPr>
              <a:xfrm>
                <a:off x="8603417" y="3102093"/>
                <a:ext cx="262427" cy="98063"/>
              </a:xfrm>
              <a:custGeom>
                <a:avLst/>
                <a:gdLst>
                  <a:gd name="connsiteX0" fmla="*/ 245286 w 262427"/>
                  <a:gd name="connsiteY0" fmla="*/ 7785 h 98063"/>
                  <a:gd name="connsiteX1" fmla="*/ 215288 w 262427"/>
                  <a:gd name="connsiteY1" fmla="*/ 5500 h 98063"/>
                  <a:gd name="connsiteX2" fmla="*/ 215288 w 262427"/>
                  <a:gd name="connsiteY2" fmla="*/ 5500 h 98063"/>
                  <a:gd name="connsiteX3" fmla="*/ 198147 w 262427"/>
                  <a:gd name="connsiteY3" fmla="*/ 4357 h 98063"/>
                  <a:gd name="connsiteX4" fmla="*/ 198147 w 262427"/>
                  <a:gd name="connsiteY4" fmla="*/ 4357 h 98063"/>
                  <a:gd name="connsiteX5" fmla="*/ 112440 w 262427"/>
                  <a:gd name="connsiteY5" fmla="*/ 643 h 98063"/>
                  <a:gd name="connsiteX6" fmla="*/ 109583 w 262427"/>
                  <a:gd name="connsiteY6" fmla="*/ 643 h 98063"/>
                  <a:gd name="connsiteX7" fmla="*/ 109583 w 262427"/>
                  <a:gd name="connsiteY7" fmla="*/ 643 h 98063"/>
                  <a:gd name="connsiteX8" fmla="*/ 29304 w 262427"/>
                  <a:gd name="connsiteY8" fmla="*/ 643 h 98063"/>
                  <a:gd name="connsiteX9" fmla="*/ 29304 w 262427"/>
                  <a:gd name="connsiteY9" fmla="*/ 643 h 98063"/>
                  <a:gd name="connsiteX10" fmla="*/ 20733 w 262427"/>
                  <a:gd name="connsiteY10" fmla="*/ 928 h 98063"/>
                  <a:gd name="connsiteX11" fmla="*/ 1306 w 262427"/>
                  <a:gd name="connsiteY11" fmla="*/ 1500 h 98063"/>
                  <a:gd name="connsiteX12" fmla="*/ 4163 w 262427"/>
                  <a:gd name="connsiteY12" fmla="*/ 43211 h 98063"/>
                  <a:gd name="connsiteX13" fmla="*/ 46731 w 262427"/>
                  <a:gd name="connsiteY13" fmla="*/ 89207 h 98063"/>
                  <a:gd name="connsiteX14" fmla="*/ 262427 w 262427"/>
                  <a:gd name="connsiteY14" fmla="*/ 98063 h 98063"/>
                  <a:gd name="connsiteX15" fmla="*/ 235001 w 262427"/>
                  <a:gd name="connsiteY15" fmla="*/ 41211 h 98063"/>
                  <a:gd name="connsiteX16" fmla="*/ 245286 w 262427"/>
                  <a:gd name="connsiteY16" fmla="*/ 7785 h 980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262427" h="98063">
                    <a:moveTo>
                      <a:pt x="245286" y="7785"/>
                    </a:moveTo>
                    <a:cubicBezTo>
                      <a:pt x="235287" y="6928"/>
                      <a:pt x="225288" y="6071"/>
                      <a:pt x="215288" y="5500"/>
                    </a:cubicBezTo>
                    <a:lnTo>
                      <a:pt x="215288" y="5500"/>
                    </a:lnTo>
                    <a:cubicBezTo>
                      <a:pt x="209575" y="5214"/>
                      <a:pt x="203861" y="4642"/>
                      <a:pt x="198147" y="4357"/>
                    </a:cubicBezTo>
                    <a:lnTo>
                      <a:pt x="198147" y="4357"/>
                    </a:lnTo>
                    <a:cubicBezTo>
                      <a:pt x="169007" y="2357"/>
                      <a:pt x="140152" y="1214"/>
                      <a:pt x="112440" y="643"/>
                    </a:cubicBezTo>
                    <a:cubicBezTo>
                      <a:pt x="111583" y="643"/>
                      <a:pt x="110440" y="643"/>
                      <a:pt x="109583" y="643"/>
                    </a:cubicBezTo>
                    <a:lnTo>
                      <a:pt x="109583" y="643"/>
                    </a:lnTo>
                    <a:cubicBezTo>
                      <a:pt x="82156" y="-214"/>
                      <a:pt x="55301" y="-214"/>
                      <a:pt x="29304" y="643"/>
                    </a:cubicBezTo>
                    <a:lnTo>
                      <a:pt x="29304" y="643"/>
                    </a:lnTo>
                    <a:cubicBezTo>
                      <a:pt x="26447" y="643"/>
                      <a:pt x="23590" y="643"/>
                      <a:pt x="20733" y="928"/>
                    </a:cubicBezTo>
                    <a:cubicBezTo>
                      <a:pt x="14162" y="1214"/>
                      <a:pt x="7877" y="1500"/>
                      <a:pt x="1306" y="1500"/>
                    </a:cubicBezTo>
                    <a:cubicBezTo>
                      <a:pt x="-980" y="16642"/>
                      <a:pt x="-408" y="30926"/>
                      <a:pt x="4163" y="43211"/>
                    </a:cubicBezTo>
                    <a:cubicBezTo>
                      <a:pt x="11305" y="63495"/>
                      <a:pt x="27018" y="77779"/>
                      <a:pt x="46731" y="89207"/>
                    </a:cubicBezTo>
                    <a:cubicBezTo>
                      <a:pt x="113868" y="88636"/>
                      <a:pt x="185576" y="92350"/>
                      <a:pt x="262427" y="98063"/>
                    </a:cubicBezTo>
                    <a:cubicBezTo>
                      <a:pt x="246715" y="80922"/>
                      <a:pt x="235001" y="62352"/>
                      <a:pt x="235001" y="41211"/>
                    </a:cubicBezTo>
                    <a:cubicBezTo>
                      <a:pt x="235001" y="29212"/>
                      <a:pt x="239001" y="18356"/>
                      <a:pt x="245286" y="7785"/>
                    </a:cubicBezTo>
                    <a:close/>
                  </a:path>
                </a:pathLst>
              </a:custGeom>
              <a:solidFill>
                <a:srgbClr val="FFE123"/>
              </a:solidFill>
              <a:ln w="2850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sp>
          <p:nvSpPr>
            <p:cNvPr id="1361" name="Freeform: Shape 1360">
              <a:extLst>
                <a:ext uri="{FF2B5EF4-FFF2-40B4-BE49-F238E27FC236}">
                  <a16:creationId xmlns:a16="http://schemas.microsoft.com/office/drawing/2014/main" id="{957CBA2E-B84F-4948-93C8-5D802FEC9A9C}"/>
                </a:ext>
              </a:extLst>
            </p:cNvPr>
            <p:cNvSpPr/>
            <p:nvPr/>
          </p:nvSpPr>
          <p:spPr>
            <a:xfrm>
              <a:off x="8201726" y="3127876"/>
              <a:ext cx="283327" cy="208840"/>
            </a:xfrm>
            <a:custGeom>
              <a:avLst/>
              <a:gdLst>
                <a:gd name="connsiteX0" fmla="*/ 189585 w 283327"/>
                <a:gd name="connsiteY0" fmla="*/ 0 h 208840"/>
                <a:gd name="connsiteX1" fmla="*/ 159873 w 283327"/>
                <a:gd name="connsiteY1" fmla="*/ 6571 h 208840"/>
                <a:gd name="connsiteX2" fmla="*/ 159873 w 283327"/>
                <a:gd name="connsiteY2" fmla="*/ 6571 h 208840"/>
                <a:gd name="connsiteX3" fmla="*/ 158159 w 283327"/>
                <a:gd name="connsiteY3" fmla="*/ 6857 h 208840"/>
                <a:gd name="connsiteX4" fmla="*/ 74166 w 283327"/>
                <a:gd name="connsiteY4" fmla="*/ 32283 h 208840"/>
                <a:gd name="connsiteX5" fmla="*/ 74166 w 283327"/>
                <a:gd name="connsiteY5" fmla="*/ 32283 h 208840"/>
                <a:gd name="connsiteX6" fmla="*/ 73595 w 283327"/>
                <a:gd name="connsiteY6" fmla="*/ 32569 h 208840"/>
                <a:gd name="connsiteX7" fmla="*/ 55596 w 283327"/>
                <a:gd name="connsiteY7" fmla="*/ 39140 h 208840"/>
                <a:gd name="connsiteX8" fmla="*/ 114163 w 283327"/>
                <a:gd name="connsiteY8" fmla="*/ 64281 h 208840"/>
                <a:gd name="connsiteX9" fmla="*/ 743 w 283327"/>
                <a:gd name="connsiteY9" fmla="*/ 206840 h 208840"/>
                <a:gd name="connsiteX10" fmla="*/ 1600 w 283327"/>
                <a:gd name="connsiteY10" fmla="*/ 208840 h 208840"/>
                <a:gd name="connsiteX11" fmla="*/ 40740 w 283327"/>
                <a:gd name="connsiteY11" fmla="*/ 179128 h 208840"/>
                <a:gd name="connsiteX12" fmla="*/ 280721 w 283327"/>
                <a:gd name="connsiteY12" fmla="*/ 77994 h 208840"/>
                <a:gd name="connsiteX13" fmla="*/ 283292 w 283327"/>
                <a:gd name="connsiteY13" fmla="*/ 68280 h 208840"/>
                <a:gd name="connsiteX14" fmla="*/ 189585 w 283327"/>
                <a:gd name="connsiteY14" fmla="*/ 0 h 2088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83327" h="208840">
                  <a:moveTo>
                    <a:pt x="189585" y="0"/>
                  </a:moveTo>
                  <a:cubicBezTo>
                    <a:pt x="179586" y="2000"/>
                    <a:pt x="169587" y="4000"/>
                    <a:pt x="159873" y="6571"/>
                  </a:cubicBezTo>
                  <a:lnTo>
                    <a:pt x="159873" y="6571"/>
                  </a:lnTo>
                  <a:cubicBezTo>
                    <a:pt x="159302" y="6571"/>
                    <a:pt x="158730" y="6857"/>
                    <a:pt x="158159" y="6857"/>
                  </a:cubicBezTo>
                  <a:cubicBezTo>
                    <a:pt x="129304" y="13999"/>
                    <a:pt x="101307" y="22570"/>
                    <a:pt x="74166" y="32283"/>
                  </a:cubicBezTo>
                  <a:lnTo>
                    <a:pt x="74166" y="32283"/>
                  </a:lnTo>
                  <a:cubicBezTo>
                    <a:pt x="73880" y="32283"/>
                    <a:pt x="73595" y="32569"/>
                    <a:pt x="73595" y="32569"/>
                  </a:cubicBezTo>
                  <a:cubicBezTo>
                    <a:pt x="67595" y="34854"/>
                    <a:pt x="61595" y="36854"/>
                    <a:pt x="55596" y="39140"/>
                  </a:cubicBezTo>
                  <a:cubicBezTo>
                    <a:pt x="86165" y="42854"/>
                    <a:pt x="109592" y="47425"/>
                    <a:pt x="114163" y="64281"/>
                  </a:cubicBezTo>
                  <a:cubicBezTo>
                    <a:pt x="126162" y="108277"/>
                    <a:pt x="-11256" y="166558"/>
                    <a:pt x="743" y="206840"/>
                  </a:cubicBezTo>
                  <a:cubicBezTo>
                    <a:pt x="1029" y="207412"/>
                    <a:pt x="1315" y="208269"/>
                    <a:pt x="1600" y="208840"/>
                  </a:cubicBezTo>
                  <a:cubicBezTo>
                    <a:pt x="17885" y="196555"/>
                    <a:pt x="31027" y="186271"/>
                    <a:pt x="40740" y="179128"/>
                  </a:cubicBezTo>
                  <a:cubicBezTo>
                    <a:pt x="113591" y="124561"/>
                    <a:pt x="193013" y="93992"/>
                    <a:pt x="280721" y="77994"/>
                  </a:cubicBezTo>
                  <a:cubicBezTo>
                    <a:pt x="282149" y="74851"/>
                    <a:pt x="283292" y="71708"/>
                    <a:pt x="283292" y="68280"/>
                  </a:cubicBezTo>
                  <a:cubicBezTo>
                    <a:pt x="284720" y="41711"/>
                    <a:pt x="243009" y="20855"/>
                    <a:pt x="189585" y="0"/>
                  </a:cubicBezTo>
                  <a:close/>
                </a:path>
              </a:pathLst>
            </a:custGeom>
            <a:solidFill>
              <a:srgbClr val="FFE123"/>
            </a:solidFill>
            <a:ln w="2850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grpSp>
          <p:nvGrpSpPr>
            <p:cNvPr id="1362" name="Graphic 1287">
              <a:extLst>
                <a:ext uri="{FF2B5EF4-FFF2-40B4-BE49-F238E27FC236}">
                  <a16:creationId xmlns:a16="http://schemas.microsoft.com/office/drawing/2014/main" id="{3AF0CC9A-49BC-41AD-A10C-81F1C9646867}"/>
                </a:ext>
              </a:extLst>
            </p:cNvPr>
            <p:cNvGrpSpPr/>
            <p:nvPr/>
          </p:nvGrpSpPr>
          <p:grpSpPr>
            <a:xfrm>
              <a:off x="8201726" y="3102820"/>
              <a:ext cx="384323" cy="444681"/>
              <a:chOff x="8201726" y="3102820"/>
              <a:chExt cx="384323" cy="444681"/>
            </a:xfrm>
          </p:grpSpPr>
          <p:grpSp>
            <p:nvGrpSpPr>
              <p:cNvPr id="1363" name="Graphic 1287">
                <a:extLst>
                  <a:ext uri="{FF2B5EF4-FFF2-40B4-BE49-F238E27FC236}">
                    <a16:creationId xmlns:a16="http://schemas.microsoft.com/office/drawing/2014/main" id="{3AF0CC9A-49BC-41AD-A10C-81F1C9646867}"/>
                  </a:ext>
                </a:extLst>
              </p:cNvPr>
              <p:cNvGrpSpPr/>
              <p:nvPr/>
            </p:nvGrpSpPr>
            <p:grpSpPr>
              <a:xfrm>
                <a:off x="8202184" y="3102820"/>
                <a:ext cx="188841" cy="64482"/>
                <a:chOff x="8202184" y="3102820"/>
                <a:chExt cx="188841" cy="64482"/>
              </a:xfrm>
              <a:solidFill>
                <a:srgbClr val="FFE123"/>
              </a:solidFill>
            </p:grpSpPr>
            <p:sp>
              <p:nvSpPr>
                <p:cNvPr id="1364" name="Freeform: Shape 1363">
                  <a:extLst>
                    <a:ext uri="{FF2B5EF4-FFF2-40B4-BE49-F238E27FC236}">
                      <a16:creationId xmlns:a16="http://schemas.microsoft.com/office/drawing/2014/main" id="{EE66B09E-9AC6-4ED6-9648-6FE74EEFD88D}"/>
                    </a:ext>
                  </a:extLst>
                </p:cNvPr>
                <p:cNvSpPr/>
                <p:nvPr/>
              </p:nvSpPr>
              <p:spPr>
                <a:xfrm>
                  <a:off x="8202184" y="3130007"/>
                  <a:ext cx="73136" cy="37294"/>
                </a:xfrm>
                <a:custGeom>
                  <a:avLst/>
                  <a:gdLst>
                    <a:gd name="connsiteX0" fmla="*/ 71423 w 73136"/>
                    <a:gd name="connsiteY0" fmla="*/ 31295 h 37294"/>
                    <a:gd name="connsiteX1" fmla="*/ 21998 w 73136"/>
                    <a:gd name="connsiteY1" fmla="*/ 1298 h 37294"/>
                    <a:gd name="connsiteX2" fmla="*/ 6857 w 73136"/>
                    <a:gd name="connsiteY2" fmla="*/ 6726 h 37294"/>
                    <a:gd name="connsiteX3" fmla="*/ 0 w 73136"/>
                    <a:gd name="connsiteY3" fmla="*/ 30153 h 37294"/>
                    <a:gd name="connsiteX4" fmla="*/ 55138 w 73136"/>
                    <a:gd name="connsiteY4" fmla="*/ 37295 h 37294"/>
                    <a:gd name="connsiteX5" fmla="*/ 73137 w 73136"/>
                    <a:gd name="connsiteY5" fmla="*/ 30724 h 37294"/>
                    <a:gd name="connsiteX6" fmla="*/ 71423 w 73136"/>
                    <a:gd name="connsiteY6" fmla="*/ 31295 h 3729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3136" h="37294">
                      <a:moveTo>
                        <a:pt x="71423" y="31295"/>
                      </a:moveTo>
                      <a:cubicBezTo>
                        <a:pt x="55424" y="21296"/>
                        <a:pt x="39140" y="11297"/>
                        <a:pt x="21998" y="1298"/>
                      </a:cubicBezTo>
                      <a:cubicBezTo>
                        <a:pt x="16856" y="-1845"/>
                        <a:pt x="8571" y="1012"/>
                        <a:pt x="6857" y="6726"/>
                      </a:cubicBezTo>
                      <a:cubicBezTo>
                        <a:pt x="4571" y="14440"/>
                        <a:pt x="2286" y="22153"/>
                        <a:pt x="0" y="30153"/>
                      </a:cubicBezTo>
                      <a:cubicBezTo>
                        <a:pt x="19427" y="33581"/>
                        <a:pt x="38283" y="35295"/>
                        <a:pt x="55138" y="37295"/>
                      </a:cubicBezTo>
                      <a:cubicBezTo>
                        <a:pt x="61138" y="35009"/>
                        <a:pt x="67137" y="32724"/>
                        <a:pt x="73137" y="30724"/>
                      </a:cubicBezTo>
                      <a:cubicBezTo>
                        <a:pt x="72566" y="30724"/>
                        <a:pt x="71994" y="31010"/>
                        <a:pt x="71423" y="31295"/>
                      </a:cubicBezTo>
                      <a:close/>
                    </a:path>
                  </a:pathLst>
                </a:custGeom>
                <a:solidFill>
                  <a:srgbClr val="FFE123"/>
                </a:solidFill>
                <a:ln w="2850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365" name="Freeform: Shape 1364">
                  <a:extLst>
                    <a:ext uri="{FF2B5EF4-FFF2-40B4-BE49-F238E27FC236}">
                      <a16:creationId xmlns:a16="http://schemas.microsoft.com/office/drawing/2014/main" id="{6341335F-8240-4BB1-9601-011A18FA2089}"/>
                    </a:ext>
                  </a:extLst>
                </p:cNvPr>
                <p:cNvSpPr/>
                <p:nvPr/>
              </p:nvSpPr>
              <p:spPr>
                <a:xfrm>
                  <a:off x="8361599" y="3119591"/>
                  <a:ext cx="29426" cy="14570"/>
                </a:xfrm>
                <a:custGeom>
                  <a:avLst/>
                  <a:gdLst>
                    <a:gd name="connsiteX0" fmla="*/ 8571 w 29426"/>
                    <a:gd name="connsiteY0" fmla="*/ 0 h 14570"/>
                    <a:gd name="connsiteX1" fmla="*/ 0 w 29426"/>
                    <a:gd name="connsiteY1" fmla="*/ 14570 h 14570"/>
                    <a:gd name="connsiteX2" fmla="*/ 29426 w 29426"/>
                    <a:gd name="connsiteY2" fmla="*/ 7999 h 14570"/>
                    <a:gd name="connsiteX3" fmla="*/ 8571 w 29426"/>
                    <a:gd name="connsiteY3" fmla="*/ 0 h 1457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29426" h="14570">
                      <a:moveTo>
                        <a:pt x="8571" y="0"/>
                      </a:moveTo>
                      <a:cubicBezTo>
                        <a:pt x="5714" y="4857"/>
                        <a:pt x="2857" y="9713"/>
                        <a:pt x="0" y="14570"/>
                      </a:cubicBezTo>
                      <a:cubicBezTo>
                        <a:pt x="9714" y="12285"/>
                        <a:pt x="19713" y="9999"/>
                        <a:pt x="29426" y="7999"/>
                      </a:cubicBezTo>
                      <a:cubicBezTo>
                        <a:pt x="22855" y="5428"/>
                        <a:pt x="15713" y="2857"/>
                        <a:pt x="8571" y="0"/>
                      </a:cubicBezTo>
                      <a:close/>
                    </a:path>
                  </a:pathLst>
                </a:custGeom>
                <a:solidFill>
                  <a:srgbClr val="FFE123"/>
                </a:solidFill>
                <a:ln w="2850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366" name="Freeform: Shape 1365">
                  <a:extLst>
                    <a:ext uri="{FF2B5EF4-FFF2-40B4-BE49-F238E27FC236}">
                      <a16:creationId xmlns:a16="http://schemas.microsoft.com/office/drawing/2014/main" id="{7BDA8A74-6563-4870-B8C5-9CA6FA49EB69}"/>
                    </a:ext>
                  </a:extLst>
                </p:cNvPr>
                <p:cNvSpPr/>
                <p:nvPr/>
              </p:nvSpPr>
              <p:spPr>
                <a:xfrm>
                  <a:off x="8275892" y="3102820"/>
                  <a:ext cx="83993" cy="57625"/>
                </a:xfrm>
                <a:custGeom>
                  <a:avLst/>
                  <a:gdLst>
                    <a:gd name="connsiteX0" fmla="*/ 82565 w 83993"/>
                    <a:gd name="connsiteY0" fmla="*/ 32485 h 57625"/>
                    <a:gd name="connsiteX1" fmla="*/ 37711 w 83993"/>
                    <a:gd name="connsiteY1" fmla="*/ 1630 h 57625"/>
                    <a:gd name="connsiteX2" fmla="*/ 21998 w 83993"/>
                    <a:gd name="connsiteY2" fmla="*/ 5630 h 57625"/>
                    <a:gd name="connsiteX3" fmla="*/ 0 w 83993"/>
                    <a:gd name="connsiteY3" fmla="*/ 57626 h 57625"/>
                    <a:gd name="connsiteX4" fmla="*/ 83993 w 83993"/>
                    <a:gd name="connsiteY4" fmla="*/ 32199 h 57625"/>
                    <a:gd name="connsiteX5" fmla="*/ 82565 w 83993"/>
                    <a:gd name="connsiteY5" fmla="*/ 32485 h 5762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83993" h="57625">
                      <a:moveTo>
                        <a:pt x="82565" y="32485"/>
                      </a:moveTo>
                      <a:cubicBezTo>
                        <a:pt x="68280" y="22200"/>
                        <a:pt x="53424" y="12201"/>
                        <a:pt x="37711" y="1630"/>
                      </a:cubicBezTo>
                      <a:cubicBezTo>
                        <a:pt x="32854" y="-1798"/>
                        <a:pt x="24569" y="487"/>
                        <a:pt x="21998" y="5630"/>
                      </a:cubicBezTo>
                      <a:cubicBezTo>
                        <a:pt x="13999" y="22200"/>
                        <a:pt x="6571" y="39627"/>
                        <a:pt x="0" y="57626"/>
                      </a:cubicBezTo>
                      <a:cubicBezTo>
                        <a:pt x="27141" y="47912"/>
                        <a:pt x="55138" y="39341"/>
                        <a:pt x="83993" y="32199"/>
                      </a:cubicBezTo>
                      <a:cubicBezTo>
                        <a:pt x="83708" y="32199"/>
                        <a:pt x="83136" y="32199"/>
                        <a:pt x="82565" y="32485"/>
                      </a:cubicBezTo>
                      <a:close/>
                    </a:path>
                  </a:pathLst>
                </a:custGeom>
                <a:solidFill>
                  <a:srgbClr val="FFE123"/>
                </a:solidFill>
                <a:ln w="2850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</p:grpSp>
          <p:sp>
            <p:nvSpPr>
              <p:cNvPr id="1367" name="Freeform: Shape 1366">
                <a:extLst>
                  <a:ext uri="{FF2B5EF4-FFF2-40B4-BE49-F238E27FC236}">
                    <a16:creationId xmlns:a16="http://schemas.microsoft.com/office/drawing/2014/main" id="{4DED3152-F1A0-4A58-97AB-B4F5421E3423}"/>
                  </a:ext>
                </a:extLst>
              </p:cNvPr>
              <p:cNvSpPr/>
              <p:nvPr/>
            </p:nvSpPr>
            <p:spPr>
              <a:xfrm>
                <a:off x="8203326" y="3205870"/>
                <a:ext cx="382723" cy="341630"/>
              </a:xfrm>
              <a:custGeom>
                <a:avLst/>
                <a:gdLst>
                  <a:gd name="connsiteX0" fmla="*/ 0 w 382723"/>
                  <a:gd name="connsiteY0" fmla="*/ 130847 h 341630"/>
                  <a:gd name="connsiteX1" fmla="*/ 250265 w 382723"/>
                  <a:gd name="connsiteY1" fmla="*/ 199127 h 341630"/>
                  <a:gd name="connsiteX2" fmla="*/ 207126 w 382723"/>
                  <a:gd name="connsiteY2" fmla="*/ 340830 h 341630"/>
                  <a:gd name="connsiteX3" fmla="*/ 379112 w 382723"/>
                  <a:gd name="connsiteY3" fmla="*/ 129704 h 341630"/>
                  <a:gd name="connsiteX4" fmla="*/ 163415 w 382723"/>
                  <a:gd name="connsiteY4" fmla="*/ 81708 h 341630"/>
                  <a:gd name="connsiteX5" fmla="*/ 279120 w 382723"/>
                  <a:gd name="connsiteY5" fmla="*/ 0 h 341630"/>
                  <a:gd name="connsiteX6" fmla="*/ 39140 w 382723"/>
                  <a:gd name="connsiteY6" fmla="*/ 101135 h 341630"/>
                  <a:gd name="connsiteX7" fmla="*/ 0 w 382723"/>
                  <a:gd name="connsiteY7" fmla="*/ 130847 h 3416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82723" h="341630">
                    <a:moveTo>
                      <a:pt x="0" y="130847"/>
                    </a:moveTo>
                    <a:cubicBezTo>
                      <a:pt x="19141" y="175129"/>
                      <a:pt x="214840" y="127704"/>
                      <a:pt x="250265" y="199127"/>
                    </a:cubicBezTo>
                    <a:cubicBezTo>
                      <a:pt x="276549" y="251980"/>
                      <a:pt x="195698" y="331402"/>
                      <a:pt x="207126" y="340830"/>
                    </a:cubicBezTo>
                    <a:cubicBezTo>
                      <a:pt x="223696" y="354257"/>
                      <a:pt x="410824" y="195413"/>
                      <a:pt x="379112" y="129704"/>
                    </a:cubicBezTo>
                    <a:cubicBezTo>
                      <a:pt x="351400" y="72566"/>
                      <a:pt x="169129" y="111991"/>
                      <a:pt x="163415" y="81708"/>
                    </a:cubicBezTo>
                    <a:cubicBezTo>
                      <a:pt x="159130" y="59138"/>
                      <a:pt x="261407" y="37711"/>
                      <a:pt x="279120" y="0"/>
                    </a:cubicBezTo>
                    <a:cubicBezTo>
                      <a:pt x="191413" y="15999"/>
                      <a:pt x="111991" y="46568"/>
                      <a:pt x="39140" y="101135"/>
                    </a:cubicBezTo>
                    <a:cubicBezTo>
                      <a:pt x="29426" y="108277"/>
                      <a:pt x="16284" y="118562"/>
                      <a:pt x="0" y="130847"/>
                    </a:cubicBezTo>
                    <a:close/>
                  </a:path>
                </a:pathLst>
              </a:custGeom>
              <a:solidFill>
                <a:srgbClr val="D1C025"/>
              </a:solidFill>
              <a:ln w="2850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368" name="Freeform: Shape 1367">
                <a:extLst>
                  <a:ext uri="{FF2B5EF4-FFF2-40B4-BE49-F238E27FC236}">
                    <a16:creationId xmlns:a16="http://schemas.microsoft.com/office/drawing/2014/main" id="{26DA9550-7597-4B75-936C-7488DC42B5B4}"/>
                  </a:ext>
                </a:extLst>
              </p:cNvPr>
              <p:cNvSpPr/>
              <p:nvPr/>
            </p:nvSpPr>
            <p:spPr>
              <a:xfrm>
                <a:off x="8359885" y="3134447"/>
                <a:ext cx="1714" cy="285"/>
              </a:xfrm>
              <a:custGeom>
                <a:avLst/>
                <a:gdLst>
                  <a:gd name="connsiteX0" fmla="*/ 1714 w 1714"/>
                  <a:gd name="connsiteY0" fmla="*/ 0 h 285"/>
                  <a:gd name="connsiteX1" fmla="*/ 0 w 1714"/>
                  <a:gd name="connsiteY1" fmla="*/ 286 h 285"/>
                  <a:gd name="connsiteX2" fmla="*/ 1714 w 1714"/>
                  <a:gd name="connsiteY2" fmla="*/ 0 h 285"/>
                  <a:gd name="connsiteX3" fmla="*/ 1714 w 1714"/>
                  <a:gd name="connsiteY3" fmla="*/ 0 h 2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714" h="285">
                    <a:moveTo>
                      <a:pt x="1714" y="0"/>
                    </a:moveTo>
                    <a:cubicBezTo>
                      <a:pt x="1143" y="0"/>
                      <a:pt x="571" y="286"/>
                      <a:pt x="0" y="286"/>
                    </a:cubicBezTo>
                    <a:cubicBezTo>
                      <a:pt x="857" y="286"/>
                      <a:pt x="1143" y="0"/>
                      <a:pt x="1714" y="0"/>
                    </a:cubicBezTo>
                    <a:lnTo>
                      <a:pt x="1714" y="0"/>
                    </a:lnTo>
                    <a:close/>
                  </a:path>
                </a:pathLst>
              </a:custGeom>
              <a:solidFill>
                <a:srgbClr val="73D927"/>
              </a:solidFill>
              <a:ln w="2850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369" name="Freeform: Shape 1368">
                <a:extLst>
                  <a:ext uri="{FF2B5EF4-FFF2-40B4-BE49-F238E27FC236}">
                    <a16:creationId xmlns:a16="http://schemas.microsoft.com/office/drawing/2014/main" id="{5DE23EA8-3639-4B7A-8D92-55F5F1CDCD33}"/>
                  </a:ext>
                </a:extLst>
              </p:cNvPr>
              <p:cNvSpPr/>
              <p:nvPr/>
            </p:nvSpPr>
            <p:spPr>
              <a:xfrm>
                <a:off x="8275606" y="3160160"/>
                <a:ext cx="571" cy="285"/>
              </a:xfrm>
              <a:custGeom>
                <a:avLst/>
                <a:gdLst>
                  <a:gd name="connsiteX0" fmla="*/ 571 w 571"/>
                  <a:gd name="connsiteY0" fmla="*/ 0 h 285"/>
                  <a:gd name="connsiteX1" fmla="*/ 0 w 571"/>
                  <a:gd name="connsiteY1" fmla="*/ 286 h 285"/>
                  <a:gd name="connsiteX2" fmla="*/ 571 w 571"/>
                  <a:gd name="connsiteY2" fmla="*/ 0 h 285"/>
                  <a:gd name="connsiteX3" fmla="*/ 571 w 571"/>
                  <a:gd name="connsiteY3" fmla="*/ 0 h 2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71" h="285">
                    <a:moveTo>
                      <a:pt x="571" y="0"/>
                    </a:moveTo>
                    <a:cubicBezTo>
                      <a:pt x="286" y="0"/>
                      <a:pt x="0" y="286"/>
                      <a:pt x="0" y="286"/>
                    </a:cubicBezTo>
                    <a:cubicBezTo>
                      <a:pt x="0" y="286"/>
                      <a:pt x="286" y="0"/>
                      <a:pt x="571" y="0"/>
                    </a:cubicBezTo>
                    <a:lnTo>
                      <a:pt x="571" y="0"/>
                    </a:lnTo>
                    <a:close/>
                  </a:path>
                </a:pathLst>
              </a:custGeom>
              <a:solidFill>
                <a:srgbClr val="73D927"/>
              </a:solidFill>
              <a:ln w="2850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370" name="Freeform: Shape 1369">
                <a:extLst>
                  <a:ext uri="{FF2B5EF4-FFF2-40B4-BE49-F238E27FC236}">
                    <a16:creationId xmlns:a16="http://schemas.microsoft.com/office/drawing/2014/main" id="{FC6821F2-9539-45B5-B2BE-A0A95BE06644}"/>
                  </a:ext>
                </a:extLst>
              </p:cNvPr>
              <p:cNvSpPr/>
              <p:nvPr/>
            </p:nvSpPr>
            <p:spPr>
              <a:xfrm>
                <a:off x="8201726" y="3127876"/>
                <a:ext cx="283327" cy="208840"/>
              </a:xfrm>
              <a:custGeom>
                <a:avLst/>
                <a:gdLst>
                  <a:gd name="connsiteX0" fmla="*/ 189585 w 283327"/>
                  <a:gd name="connsiteY0" fmla="*/ 0 h 208840"/>
                  <a:gd name="connsiteX1" fmla="*/ 159873 w 283327"/>
                  <a:gd name="connsiteY1" fmla="*/ 6571 h 208840"/>
                  <a:gd name="connsiteX2" fmla="*/ 159873 w 283327"/>
                  <a:gd name="connsiteY2" fmla="*/ 6571 h 208840"/>
                  <a:gd name="connsiteX3" fmla="*/ 158159 w 283327"/>
                  <a:gd name="connsiteY3" fmla="*/ 6857 h 208840"/>
                  <a:gd name="connsiteX4" fmla="*/ 74166 w 283327"/>
                  <a:gd name="connsiteY4" fmla="*/ 32283 h 208840"/>
                  <a:gd name="connsiteX5" fmla="*/ 74166 w 283327"/>
                  <a:gd name="connsiteY5" fmla="*/ 32283 h 208840"/>
                  <a:gd name="connsiteX6" fmla="*/ 73595 w 283327"/>
                  <a:gd name="connsiteY6" fmla="*/ 32569 h 208840"/>
                  <a:gd name="connsiteX7" fmla="*/ 55596 w 283327"/>
                  <a:gd name="connsiteY7" fmla="*/ 39140 h 208840"/>
                  <a:gd name="connsiteX8" fmla="*/ 114163 w 283327"/>
                  <a:gd name="connsiteY8" fmla="*/ 64281 h 208840"/>
                  <a:gd name="connsiteX9" fmla="*/ 743 w 283327"/>
                  <a:gd name="connsiteY9" fmla="*/ 206840 h 208840"/>
                  <a:gd name="connsiteX10" fmla="*/ 1600 w 283327"/>
                  <a:gd name="connsiteY10" fmla="*/ 208840 h 208840"/>
                  <a:gd name="connsiteX11" fmla="*/ 40740 w 283327"/>
                  <a:gd name="connsiteY11" fmla="*/ 179128 h 208840"/>
                  <a:gd name="connsiteX12" fmla="*/ 280721 w 283327"/>
                  <a:gd name="connsiteY12" fmla="*/ 77994 h 208840"/>
                  <a:gd name="connsiteX13" fmla="*/ 283292 w 283327"/>
                  <a:gd name="connsiteY13" fmla="*/ 68280 h 208840"/>
                  <a:gd name="connsiteX14" fmla="*/ 189585 w 283327"/>
                  <a:gd name="connsiteY14" fmla="*/ 0 h 2088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283327" h="208840">
                    <a:moveTo>
                      <a:pt x="189585" y="0"/>
                    </a:moveTo>
                    <a:cubicBezTo>
                      <a:pt x="179586" y="2000"/>
                      <a:pt x="169587" y="4000"/>
                      <a:pt x="159873" y="6571"/>
                    </a:cubicBezTo>
                    <a:lnTo>
                      <a:pt x="159873" y="6571"/>
                    </a:lnTo>
                    <a:cubicBezTo>
                      <a:pt x="159302" y="6571"/>
                      <a:pt x="158730" y="6857"/>
                      <a:pt x="158159" y="6857"/>
                    </a:cubicBezTo>
                    <a:cubicBezTo>
                      <a:pt x="129304" y="13999"/>
                      <a:pt x="101307" y="22570"/>
                      <a:pt x="74166" y="32283"/>
                    </a:cubicBezTo>
                    <a:lnTo>
                      <a:pt x="74166" y="32283"/>
                    </a:lnTo>
                    <a:cubicBezTo>
                      <a:pt x="73880" y="32283"/>
                      <a:pt x="73595" y="32569"/>
                      <a:pt x="73595" y="32569"/>
                    </a:cubicBezTo>
                    <a:cubicBezTo>
                      <a:pt x="67595" y="34854"/>
                      <a:pt x="61595" y="36854"/>
                      <a:pt x="55596" y="39140"/>
                    </a:cubicBezTo>
                    <a:cubicBezTo>
                      <a:pt x="86165" y="42854"/>
                      <a:pt x="109592" y="47425"/>
                      <a:pt x="114163" y="64281"/>
                    </a:cubicBezTo>
                    <a:cubicBezTo>
                      <a:pt x="126162" y="108277"/>
                      <a:pt x="-11256" y="166558"/>
                      <a:pt x="743" y="206840"/>
                    </a:cubicBezTo>
                    <a:cubicBezTo>
                      <a:pt x="1029" y="207412"/>
                      <a:pt x="1315" y="208269"/>
                      <a:pt x="1600" y="208840"/>
                    </a:cubicBezTo>
                    <a:cubicBezTo>
                      <a:pt x="17885" y="196555"/>
                      <a:pt x="31027" y="186271"/>
                      <a:pt x="40740" y="179128"/>
                    </a:cubicBezTo>
                    <a:cubicBezTo>
                      <a:pt x="113591" y="124561"/>
                      <a:pt x="193013" y="93992"/>
                      <a:pt x="280721" y="77994"/>
                    </a:cubicBezTo>
                    <a:cubicBezTo>
                      <a:pt x="282149" y="74851"/>
                      <a:pt x="283292" y="71708"/>
                      <a:pt x="283292" y="68280"/>
                    </a:cubicBezTo>
                    <a:cubicBezTo>
                      <a:pt x="284720" y="41711"/>
                      <a:pt x="243009" y="20855"/>
                      <a:pt x="189585" y="0"/>
                    </a:cubicBezTo>
                    <a:close/>
                  </a:path>
                </a:pathLst>
              </a:custGeom>
              <a:solidFill>
                <a:srgbClr val="FFE123"/>
              </a:solidFill>
              <a:ln w="2850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sp>
          <p:nvSpPr>
            <p:cNvPr id="1371" name="Freeform: Shape 1370">
              <a:extLst>
                <a:ext uri="{FF2B5EF4-FFF2-40B4-BE49-F238E27FC236}">
                  <a16:creationId xmlns:a16="http://schemas.microsoft.com/office/drawing/2014/main" id="{7BFF2187-B4C4-4A1D-A0A2-C43CA8A82248}"/>
                </a:ext>
              </a:extLst>
            </p:cNvPr>
            <p:cNvSpPr/>
            <p:nvPr/>
          </p:nvSpPr>
          <p:spPr>
            <a:xfrm>
              <a:off x="9086969" y="3151017"/>
              <a:ext cx="265121" cy="113990"/>
            </a:xfrm>
            <a:custGeom>
              <a:avLst/>
              <a:gdLst>
                <a:gd name="connsiteX0" fmla="*/ 25141 w 265121"/>
                <a:gd name="connsiteY0" fmla="*/ 0 h 113990"/>
                <a:gd name="connsiteX1" fmla="*/ 0 w 265121"/>
                <a:gd name="connsiteY1" fmla="*/ 71137 h 113990"/>
                <a:gd name="connsiteX2" fmla="*/ 181700 w 265121"/>
                <a:gd name="connsiteY2" fmla="*/ 113991 h 113990"/>
                <a:gd name="connsiteX3" fmla="*/ 265122 w 265121"/>
                <a:gd name="connsiteY3" fmla="*/ 71423 h 113990"/>
                <a:gd name="connsiteX4" fmla="*/ 25141 w 265121"/>
                <a:gd name="connsiteY4" fmla="*/ 0 h 1139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65121" h="113990">
                  <a:moveTo>
                    <a:pt x="25141" y="0"/>
                  </a:moveTo>
                  <a:cubicBezTo>
                    <a:pt x="11999" y="23998"/>
                    <a:pt x="3428" y="48567"/>
                    <a:pt x="0" y="71137"/>
                  </a:cubicBezTo>
                  <a:cubicBezTo>
                    <a:pt x="63138" y="81422"/>
                    <a:pt x="123704" y="95992"/>
                    <a:pt x="181700" y="113991"/>
                  </a:cubicBezTo>
                  <a:cubicBezTo>
                    <a:pt x="201698" y="95992"/>
                    <a:pt x="233695" y="83707"/>
                    <a:pt x="265122" y="71423"/>
                  </a:cubicBezTo>
                  <a:cubicBezTo>
                    <a:pt x="185128" y="41425"/>
                    <a:pt x="104563" y="17999"/>
                    <a:pt x="25141" y="0"/>
                  </a:cubicBezTo>
                  <a:close/>
                </a:path>
              </a:pathLst>
            </a:custGeom>
            <a:solidFill>
              <a:srgbClr val="FFE123"/>
            </a:solidFill>
            <a:ln w="2850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72" name="Freeform: Shape 1371">
              <a:extLst>
                <a:ext uri="{FF2B5EF4-FFF2-40B4-BE49-F238E27FC236}">
                  <a16:creationId xmlns:a16="http://schemas.microsoft.com/office/drawing/2014/main" id="{07795D0F-ECEC-44F8-982A-D8D68FB367EE}"/>
                </a:ext>
              </a:extLst>
            </p:cNvPr>
            <p:cNvSpPr/>
            <p:nvPr/>
          </p:nvSpPr>
          <p:spPr>
            <a:xfrm>
              <a:off x="9382626" y="3290435"/>
              <a:ext cx="220872" cy="316030"/>
            </a:xfrm>
            <a:custGeom>
              <a:avLst/>
              <a:gdLst>
                <a:gd name="connsiteX0" fmla="*/ 51458 w 220872"/>
                <a:gd name="connsiteY0" fmla="*/ 92278 h 316030"/>
                <a:gd name="connsiteX1" fmla="*/ 73170 w 220872"/>
                <a:gd name="connsiteY1" fmla="*/ 173700 h 316030"/>
                <a:gd name="connsiteX2" fmla="*/ 18889 w 220872"/>
                <a:gd name="connsiteY2" fmla="*/ 215697 h 316030"/>
                <a:gd name="connsiteX3" fmla="*/ 10033 w 220872"/>
                <a:gd name="connsiteY3" fmla="*/ 298547 h 316030"/>
                <a:gd name="connsiteX4" fmla="*/ 96883 w 220872"/>
                <a:gd name="connsiteY4" fmla="*/ 298547 h 316030"/>
                <a:gd name="connsiteX5" fmla="*/ 76313 w 220872"/>
                <a:gd name="connsiteY5" fmla="*/ 238838 h 316030"/>
                <a:gd name="connsiteX6" fmla="*/ 182876 w 220872"/>
                <a:gd name="connsiteY6" fmla="*/ 198555 h 316030"/>
                <a:gd name="connsiteX7" fmla="*/ 160877 w 220872"/>
                <a:gd name="connsiteY7" fmla="*/ 108563 h 316030"/>
                <a:gd name="connsiteX8" fmla="*/ 193446 w 220872"/>
                <a:gd name="connsiteY8" fmla="*/ 67709 h 316030"/>
                <a:gd name="connsiteX9" fmla="*/ 220873 w 220872"/>
                <a:gd name="connsiteY9" fmla="*/ 50853 h 316030"/>
                <a:gd name="connsiteX10" fmla="*/ 126595 w 220872"/>
                <a:gd name="connsiteY10" fmla="*/ 0 h 316030"/>
                <a:gd name="connsiteX11" fmla="*/ 51458 w 220872"/>
                <a:gd name="connsiteY11" fmla="*/ 92278 h 3160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20872" h="316030">
                  <a:moveTo>
                    <a:pt x="51458" y="92278"/>
                  </a:moveTo>
                  <a:cubicBezTo>
                    <a:pt x="52029" y="125990"/>
                    <a:pt x="84883" y="146845"/>
                    <a:pt x="73170" y="173700"/>
                  </a:cubicBezTo>
                  <a:cubicBezTo>
                    <a:pt x="63457" y="195413"/>
                    <a:pt x="37173" y="192270"/>
                    <a:pt x="18889" y="215697"/>
                  </a:cubicBezTo>
                  <a:cubicBezTo>
                    <a:pt x="2604" y="236552"/>
                    <a:pt x="-9394" y="275692"/>
                    <a:pt x="10033" y="298547"/>
                  </a:cubicBezTo>
                  <a:cubicBezTo>
                    <a:pt x="32888" y="325688"/>
                    <a:pt x="88312" y="317689"/>
                    <a:pt x="96883" y="298547"/>
                  </a:cubicBezTo>
                  <a:cubicBezTo>
                    <a:pt x="104882" y="280263"/>
                    <a:pt x="68885" y="259122"/>
                    <a:pt x="76313" y="238838"/>
                  </a:cubicBezTo>
                  <a:cubicBezTo>
                    <a:pt x="87169" y="209697"/>
                    <a:pt x="169162" y="229696"/>
                    <a:pt x="182876" y="198555"/>
                  </a:cubicBezTo>
                  <a:cubicBezTo>
                    <a:pt x="193446" y="174557"/>
                    <a:pt x="151164" y="147702"/>
                    <a:pt x="160877" y="108563"/>
                  </a:cubicBezTo>
                  <a:cubicBezTo>
                    <a:pt x="165163" y="90850"/>
                    <a:pt x="178305" y="78851"/>
                    <a:pt x="193446" y="67709"/>
                  </a:cubicBezTo>
                  <a:cubicBezTo>
                    <a:pt x="202017" y="61424"/>
                    <a:pt x="211445" y="55995"/>
                    <a:pt x="220873" y="50853"/>
                  </a:cubicBezTo>
                  <a:cubicBezTo>
                    <a:pt x="189732" y="32854"/>
                    <a:pt x="158306" y="15713"/>
                    <a:pt x="126595" y="0"/>
                  </a:cubicBezTo>
                  <a:cubicBezTo>
                    <a:pt x="82884" y="25712"/>
                    <a:pt x="50886" y="58852"/>
                    <a:pt x="51458" y="92278"/>
                  </a:cubicBezTo>
                  <a:close/>
                </a:path>
              </a:pathLst>
            </a:custGeom>
            <a:solidFill>
              <a:srgbClr val="D1C025"/>
            </a:solidFill>
            <a:ln w="2850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73" name="Freeform: Shape 1372">
              <a:extLst>
                <a:ext uri="{FF2B5EF4-FFF2-40B4-BE49-F238E27FC236}">
                  <a16:creationId xmlns:a16="http://schemas.microsoft.com/office/drawing/2014/main" id="{8B31CD3F-088F-48E6-BA73-5CCB21F134E7}"/>
                </a:ext>
              </a:extLst>
            </p:cNvPr>
            <p:cNvSpPr/>
            <p:nvPr/>
          </p:nvSpPr>
          <p:spPr>
            <a:xfrm>
              <a:off x="9453225" y="3290435"/>
              <a:ext cx="150273" cy="94563"/>
            </a:xfrm>
            <a:custGeom>
              <a:avLst/>
              <a:gdLst>
                <a:gd name="connsiteX0" fmla="*/ 122847 w 150273"/>
                <a:gd name="connsiteY0" fmla="*/ 67709 h 94563"/>
                <a:gd name="connsiteX1" fmla="*/ 150274 w 150273"/>
                <a:gd name="connsiteY1" fmla="*/ 50853 h 94563"/>
                <a:gd name="connsiteX2" fmla="*/ 150274 w 150273"/>
                <a:gd name="connsiteY2" fmla="*/ 50853 h 94563"/>
                <a:gd name="connsiteX3" fmla="*/ 103420 w 150273"/>
                <a:gd name="connsiteY3" fmla="*/ 24569 h 94563"/>
                <a:gd name="connsiteX4" fmla="*/ 103420 w 150273"/>
                <a:gd name="connsiteY4" fmla="*/ 24569 h 94563"/>
                <a:gd name="connsiteX5" fmla="*/ 56281 w 150273"/>
                <a:gd name="connsiteY5" fmla="*/ 0 h 94563"/>
                <a:gd name="connsiteX6" fmla="*/ 56281 w 150273"/>
                <a:gd name="connsiteY6" fmla="*/ 0 h 94563"/>
                <a:gd name="connsiteX7" fmla="*/ 0 w 150273"/>
                <a:gd name="connsiteY7" fmla="*/ 45996 h 94563"/>
                <a:gd name="connsiteX8" fmla="*/ 96278 w 150273"/>
                <a:gd name="connsiteY8" fmla="*/ 94564 h 94563"/>
                <a:gd name="connsiteX9" fmla="*/ 122847 w 150273"/>
                <a:gd name="connsiteY9" fmla="*/ 67709 h 945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50273" h="94563">
                  <a:moveTo>
                    <a:pt x="122847" y="67709"/>
                  </a:moveTo>
                  <a:cubicBezTo>
                    <a:pt x="131418" y="61424"/>
                    <a:pt x="140846" y="55995"/>
                    <a:pt x="150274" y="50853"/>
                  </a:cubicBezTo>
                  <a:cubicBezTo>
                    <a:pt x="150274" y="50853"/>
                    <a:pt x="150274" y="50853"/>
                    <a:pt x="150274" y="50853"/>
                  </a:cubicBezTo>
                  <a:cubicBezTo>
                    <a:pt x="134846" y="41711"/>
                    <a:pt x="119133" y="33140"/>
                    <a:pt x="103420" y="24569"/>
                  </a:cubicBezTo>
                  <a:cubicBezTo>
                    <a:pt x="103420" y="24569"/>
                    <a:pt x="103420" y="24569"/>
                    <a:pt x="103420" y="24569"/>
                  </a:cubicBezTo>
                  <a:cubicBezTo>
                    <a:pt x="87707" y="15999"/>
                    <a:pt x="71994" y="7999"/>
                    <a:pt x="56281" y="0"/>
                  </a:cubicBezTo>
                  <a:cubicBezTo>
                    <a:pt x="56281" y="0"/>
                    <a:pt x="56281" y="0"/>
                    <a:pt x="56281" y="0"/>
                  </a:cubicBezTo>
                  <a:cubicBezTo>
                    <a:pt x="33140" y="13713"/>
                    <a:pt x="13428" y="29426"/>
                    <a:pt x="0" y="45996"/>
                  </a:cubicBezTo>
                  <a:cubicBezTo>
                    <a:pt x="33140" y="61424"/>
                    <a:pt x="65138" y="77708"/>
                    <a:pt x="96278" y="94564"/>
                  </a:cubicBezTo>
                  <a:cubicBezTo>
                    <a:pt x="102277" y="83993"/>
                    <a:pt x="111991" y="75422"/>
                    <a:pt x="122847" y="67709"/>
                  </a:cubicBezTo>
                  <a:close/>
                </a:path>
              </a:pathLst>
            </a:custGeom>
            <a:solidFill>
              <a:srgbClr val="FFE123"/>
            </a:solidFill>
            <a:ln w="2850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pic>
        <p:nvPicPr>
          <p:cNvPr id="1375" name="Picture 1374">
            <a:extLst>
              <a:ext uri="{FF2B5EF4-FFF2-40B4-BE49-F238E27FC236}">
                <a16:creationId xmlns:a16="http://schemas.microsoft.com/office/drawing/2014/main" id="{C1084779-F7D5-447B-AFAB-3BF529D477C9}"/>
              </a:ext>
            </a:extLst>
          </p:cNvPr>
          <p:cNvPicPr>
            <a:picLocks noChangeAspect="1"/>
          </p:cNvPicPr>
          <p:nvPr/>
        </p:nvPicPr>
        <p:blipFill>
          <a:blip r:embed="rId17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75547" y="1174161"/>
            <a:ext cx="1388163" cy="1946742"/>
          </a:xfrm>
          <a:prstGeom prst="rect">
            <a:avLst/>
          </a:prstGeom>
        </p:spPr>
      </p:pic>
      <p:pic>
        <p:nvPicPr>
          <p:cNvPr id="457" name="Graphic 456">
            <a:extLst>
              <a:ext uri="{FF2B5EF4-FFF2-40B4-BE49-F238E27FC236}">
                <a16:creationId xmlns:a16="http://schemas.microsoft.com/office/drawing/2014/main" id="{71085EBF-621A-4C9D-94A1-AAD06E65869C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96DAC541-7B7A-43D3-8B79-37D633B846F1}">
                <asvg:svgBlip xmlns:asvg="http://schemas.microsoft.com/office/drawing/2016/SVG/main" xmlns="" r:embed="rId16"/>
              </a:ext>
            </a:extLst>
          </a:blip>
          <a:stretch>
            <a:fillRect/>
          </a:stretch>
        </p:blipFill>
        <p:spPr>
          <a:xfrm rot="3371695">
            <a:off x="9776635" y="4642339"/>
            <a:ext cx="1505517" cy="1729478"/>
          </a:xfrm>
          <a:prstGeom prst="rect">
            <a:avLst/>
          </a:prstGeom>
        </p:spPr>
      </p:pic>
      <p:pic>
        <p:nvPicPr>
          <p:cNvPr id="1381" name="Graphic 1380">
            <a:extLst>
              <a:ext uri="{FF2B5EF4-FFF2-40B4-BE49-F238E27FC236}">
                <a16:creationId xmlns:a16="http://schemas.microsoft.com/office/drawing/2014/main" id="{D17CB0D1-3A16-4D54-8ED7-068F09619A52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96DAC541-7B7A-43D3-8B79-37D633B846F1}">
                <asvg:svgBlip xmlns:asvg="http://schemas.microsoft.com/office/drawing/2016/SVG/main" xmlns="" r:embed="rId19"/>
              </a:ext>
            </a:extLst>
          </a:blip>
          <a:stretch>
            <a:fillRect/>
          </a:stretch>
        </p:blipFill>
        <p:spPr>
          <a:xfrm>
            <a:off x="9412939" y="4204729"/>
            <a:ext cx="934985" cy="1856801"/>
          </a:xfrm>
          <a:prstGeom prst="rect">
            <a:avLst/>
          </a:prstGeom>
        </p:spPr>
      </p:pic>
      <p:pic>
        <p:nvPicPr>
          <p:cNvPr id="1384" name="Graphic 1383">
            <a:extLst>
              <a:ext uri="{FF2B5EF4-FFF2-40B4-BE49-F238E27FC236}">
                <a16:creationId xmlns:a16="http://schemas.microsoft.com/office/drawing/2014/main" id="{06E47D55-D461-4D28-ABDB-1F8D315F29D9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96DAC541-7B7A-43D3-8B79-37D633B846F1}">
                <asvg:svgBlip xmlns:asvg="http://schemas.microsoft.com/office/drawing/2016/SVG/main" xmlns="" r:embed="rId21"/>
              </a:ext>
            </a:extLst>
          </a:blip>
          <a:stretch>
            <a:fillRect/>
          </a:stretch>
        </p:blipFill>
        <p:spPr>
          <a:xfrm>
            <a:off x="10145914" y="3709694"/>
            <a:ext cx="1349178" cy="1925750"/>
          </a:xfrm>
          <a:prstGeom prst="rect">
            <a:avLst/>
          </a:prstGeom>
        </p:spPr>
      </p:pic>
      <p:pic>
        <p:nvPicPr>
          <p:cNvPr id="458" name="Graphic 457">
            <a:extLst>
              <a:ext uri="{FF2B5EF4-FFF2-40B4-BE49-F238E27FC236}">
                <a16:creationId xmlns:a16="http://schemas.microsoft.com/office/drawing/2014/main" id="{065C9871-4B8C-47B7-8604-D975CB37F9B6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96DAC541-7B7A-43D3-8B79-37D633B846F1}">
                <asvg:svgBlip xmlns:asvg="http://schemas.microsoft.com/office/drawing/2016/SVG/main" xmlns="" r:embed="rId19"/>
              </a:ext>
            </a:extLst>
          </a:blip>
          <a:stretch>
            <a:fillRect/>
          </a:stretch>
        </p:blipFill>
        <p:spPr>
          <a:xfrm>
            <a:off x="7069644" y="4017943"/>
            <a:ext cx="772715" cy="1534546"/>
          </a:xfrm>
          <a:prstGeom prst="rect">
            <a:avLst/>
          </a:prstGeom>
        </p:spPr>
      </p:pic>
      <p:pic>
        <p:nvPicPr>
          <p:cNvPr id="1385" name="Graphic 1384">
            <a:extLst>
              <a:ext uri="{FF2B5EF4-FFF2-40B4-BE49-F238E27FC236}">
                <a16:creationId xmlns:a16="http://schemas.microsoft.com/office/drawing/2014/main" id="{E86959AA-0054-4D22-83B6-89C03A718F92}"/>
              </a:ext>
            </a:extLst>
          </p:cNvPr>
          <p:cNvPicPr>
            <a:picLocks noChangeAspect="1"/>
          </p:cNvPicPr>
          <p:nvPr/>
        </p:nvPicPr>
        <p:blipFill>
          <a:blip r:embed="rId22">
            <a:extLst>
              <a:ext uri="{96DAC541-7B7A-43D3-8B79-37D633B846F1}">
                <asvg:svgBlip xmlns:asvg="http://schemas.microsoft.com/office/drawing/2016/SVG/main" xmlns="" r:embed="rId23"/>
              </a:ext>
            </a:extLst>
          </a:blip>
          <a:stretch>
            <a:fillRect/>
          </a:stretch>
        </p:blipFill>
        <p:spPr>
          <a:xfrm>
            <a:off x="10536619" y="4432998"/>
            <a:ext cx="1954192" cy="2018264"/>
          </a:xfrm>
          <a:prstGeom prst="rect">
            <a:avLst/>
          </a:prstGeom>
        </p:spPr>
      </p:pic>
      <p:pic>
        <p:nvPicPr>
          <p:cNvPr id="1386" name="Graphic 1385">
            <a:extLst>
              <a:ext uri="{FF2B5EF4-FFF2-40B4-BE49-F238E27FC236}">
                <a16:creationId xmlns:a16="http://schemas.microsoft.com/office/drawing/2014/main" id="{27A30A95-75D8-43F4-A9D3-BB691BD9E56B}"/>
              </a:ext>
            </a:extLst>
          </p:cNvPr>
          <p:cNvPicPr>
            <a:picLocks noChangeAspect="1"/>
          </p:cNvPicPr>
          <p:nvPr/>
        </p:nvPicPr>
        <p:blipFill>
          <a:blip r:embed="rId24">
            <a:extLst>
              <a:ext uri="{96DAC541-7B7A-43D3-8B79-37D633B846F1}">
                <asvg:svgBlip xmlns:asvg="http://schemas.microsoft.com/office/drawing/2016/SVG/main" xmlns="" r:embed="rId25"/>
              </a:ext>
            </a:extLst>
          </a:blip>
          <a:stretch>
            <a:fillRect/>
          </a:stretch>
        </p:blipFill>
        <p:spPr>
          <a:xfrm rot="1297693" flipH="1">
            <a:off x="7537538" y="4563860"/>
            <a:ext cx="1631140" cy="1661628"/>
          </a:xfrm>
          <a:prstGeom prst="rect">
            <a:avLst/>
          </a:prstGeom>
        </p:spPr>
      </p:pic>
      <p:sp>
        <p:nvSpPr>
          <p:cNvPr id="129" name="Slide Number Placeholder 2">
            <a:extLst>
              <a:ext uri="{FF2B5EF4-FFF2-40B4-BE49-F238E27FC236}">
                <a16:creationId xmlns:a16="http://schemas.microsoft.com/office/drawing/2014/main" id="{717AF783-CABC-4AF2-809A-1DCEABA2CFFD}"/>
              </a:ext>
            </a:extLst>
          </p:cNvPr>
          <p:cNvSpPr txBox="1">
            <a:spLocks/>
          </p:cNvSpPr>
          <p:nvPr/>
        </p:nvSpPr>
        <p:spPr>
          <a:xfrm>
            <a:off x="11604794" y="298450"/>
            <a:ext cx="431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pl-PL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ID" dirty="0" smtClean="0">
                <a:solidFill>
                  <a:schemeClr val="bg1"/>
                </a:solidFill>
              </a:rPr>
              <a:t>0</a:t>
            </a:r>
            <a:fld id="{2CBBA7E6-4538-4F86-A84E-2F9DAC94FB18}" type="slidenum">
              <a:rPr lang="en-ID" smtClean="0">
                <a:solidFill>
                  <a:schemeClr val="bg1"/>
                </a:solidFill>
              </a:rPr>
              <a:pPr algn="ctr"/>
              <a:t>15</a:t>
            </a:fld>
            <a:endParaRPr lang="en-ID" dirty="0">
              <a:solidFill>
                <a:schemeClr val="bg1"/>
              </a:solidFill>
            </a:endParaRPr>
          </a:p>
        </p:txBody>
      </p:sp>
      <p:cxnSp>
        <p:nvCxnSpPr>
          <p:cNvPr id="130" name="Straight Connector 129">
            <a:extLst>
              <a:ext uri="{FF2B5EF4-FFF2-40B4-BE49-F238E27FC236}">
                <a16:creationId xmlns:a16="http://schemas.microsoft.com/office/drawing/2014/main" id="{E76D8B24-ABF5-4567-B965-7BD12085D9C8}"/>
              </a:ext>
            </a:extLst>
          </p:cNvPr>
          <p:cNvCxnSpPr>
            <a:cxnSpLocks/>
          </p:cNvCxnSpPr>
          <p:nvPr/>
        </p:nvCxnSpPr>
        <p:spPr>
          <a:xfrm>
            <a:off x="11798469" y="723906"/>
            <a:ext cx="0" cy="6134094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5086692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15584CA-666C-473A-9746-5F1F99C24F8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94"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C15584CA-666C-473A-9746-5F1F99C24F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0F8D9E86-4235-415D-B5EA-770BAE2641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43588" y="1962157"/>
            <a:ext cx="2600062" cy="601633"/>
          </a:xfrm>
        </p:spPr>
        <p:txBody>
          <a:bodyPr vert="horz">
            <a:normAutofit/>
          </a:bodyPr>
          <a:lstStyle/>
          <a:p>
            <a:r>
              <a:rPr lang="en-US" sz="3600" b="1" dirty="0" smtClean="0">
                <a:latin typeface="Lato" panose="020F0502020204030203" pitchFamily="34" charset="0"/>
                <a:cs typeface="Segoe UI Light" panose="020B0502040204020203" pitchFamily="34" charset="0"/>
              </a:rPr>
              <a:t>Contents</a:t>
            </a:r>
            <a:endParaRPr lang="en-US" sz="3600" b="1" dirty="0">
              <a:latin typeface="Lato" panose="020F0502020204030203" pitchFamily="34" charset="0"/>
            </a:endParaRPr>
          </a:p>
        </p:txBody>
      </p:sp>
      <p:sp>
        <p:nvSpPr>
          <p:cNvPr id="84" name="Slide Number Placeholder 2">
            <a:extLst>
              <a:ext uri="{FF2B5EF4-FFF2-40B4-BE49-F238E27FC236}">
                <a16:creationId xmlns:a16="http://schemas.microsoft.com/office/drawing/2014/main" id="{717AF783-CABC-4AF2-809A-1DCEABA2CFFD}"/>
              </a:ext>
            </a:extLst>
          </p:cNvPr>
          <p:cNvSpPr txBox="1">
            <a:spLocks/>
          </p:cNvSpPr>
          <p:nvPr/>
        </p:nvSpPr>
        <p:spPr>
          <a:xfrm>
            <a:off x="11604794" y="298450"/>
            <a:ext cx="431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pl-PL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ID" dirty="0" smtClean="0">
                <a:solidFill>
                  <a:schemeClr val="tx1"/>
                </a:solidFill>
              </a:rPr>
              <a:t>0</a:t>
            </a:r>
            <a:fld id="{2CBBA7E6-4538-4F86-A84E-2F9DAC94FB18}" type="slidenum">
              <a:rPr lang="en-ID" smtClean="0">
                <a:solidFill>
                  <a:schemeClr val="tx1"/>
                </a:solidFill>
              </a:rPr>
              <a:pPr algn="ctr"/>
              <a:t>2</a:t>
            </a:fld>
            <a:endParaRPr lang="en-ID" dirty="0">
              <a:solidFill>
                <a:schemeClr val="tx1"/>
              </a:solidFill>
            </a:endParaRPr>
          </a:p>
        </p:txBody>
      </p:sp>
      <p:cxnSp>
        <p:nvCxnSpPr>
          <p:cNvPr id="85" name="Straight Connector 84">
            <a:extLst>
              <a:ext uri="{FF2B5EF4-FFF2-40B4-BE49-F238E27FC236}">
                <a16:creationId xmlns:a16="http://schemas.microsoft.com/office/drawing/2014/main" id="{E76D8B24-ABF5-4567-B965-7BD12085D9C8}"/>
              </a:ext>
            </a:extLst>
          </p:cNvPr>
          <p:cNvCxnSpPr>
            <a:cxnSpLocks/>
          </p:cNvCxnSpPr>
          <p:nvPr/>
        </p:nvCxnSpPr>
        <p:spPr>
          <a:xfrm>
            <a:off x="11798469" y="723906"/>
            <a:ext cx="0" cy="6134094"/>
          </a:xfrm>
          <a:prstGeom prst="line">
            <a:avLst/>
          </a:prstGeom>
          <a:ln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82" name="Title 1">
            <a:extLst>
              <a:ext uri="{FF2B5EF4-FFF2-40B4-BE49-F238E27FC236}">
                <a16:creationId xmlns:a16="http://schemas.microsoft.com/office/drawing/2014/main" id="{0F8D9E86-4235-415D-B5EA-770BAE2641FF}"/>
              </a:ext>
            </a:extLst>
          </p:cNvPr>
          <p:cNvSpPr txBox="1">
            <a:spLocks/>
          </p:cNvSpPr>
          <p:nvPr/>
        </p:nvSpPr>
        <p:spPr>
          <a:xfrm>
            <a:off x="6443588" y="2743200"/>
            <a:ext cx="5929293" cy="2927024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2500"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000" dirty="0" smtClean="0">
                <a:solidFill>
                  <a:schemeClr val="bg1">
                    <a:lumMod val="50000"/>
                  </a:schemeClr>
                </a:solidFill>
              </a:rPr>
              <a:t>Hyper parameter tuning the nightmare </a:t>
            </a:r>
            <a:r>
              <a:rPr lang="en-AT" sz="2000" dirty="0" smtClean="0">
                <a:solidFill>
                  <a:schemeClr val="bg1">
                    <a:lumMod val="50000"/>
                  </a:schemeClr>
                </a:solidFill>
              </a:rPr>
              <a:t>…</a:t>
            </a:r>
            <a:endParaRPr lang="en-US" sz="2000" dirty="0" smtClean="0">
              <a:solidFill>
                <a:schemeClr val="bg1">
                  <a:lumMod val="50000"/>
                </a:schemeClr>
              </a:solidFill>
            </a:endParaRPr>
          </a:p>
          <a:p>
            <a:endParaRPr lang="en-US" sz="2000" dirty="0" smtClean="0">
              <a:solidFill>
                <a:schemeClr val="bg1">
                  <a:lumMod val="50000"/>
                </a:schemeClr>
              </a:solidFill>
            </a:endParaRPr>
          </a:p>
          <a:p>
            <a:r>
              <a:rPr lang="en-US" sz="2000" dirty="0" smtClean="0">
                <a:solidFill>
                  <a:schemeClr val="bg1">
                    <a:lumMod val="50000"/>
                  </a:schemeClr>
                </a:solidFill>
              </a:rPr>
              <a:t>Normal Approach</a:t>
            </a:r>
          </a:p>
          <a:p>
            <a:endParaRPr lang="en-US" sz="2000" dirty="0" smtClean="0">
              <a:solidFill>
                <a:schemeClr val="bg1">
                  <a:lumMod val="50000"/>
                </a:schemeClr>
              </a:solidFill>
            </a:endParaRPr>
          </a:p>
          <a:p>
            <a:r>
              <a:rPr lang="en-US" sz="2000" dirty="0" smtClean="0">
                <a:solidFill>
                  <a:schemeClr val="bg1">
                    <a:lumMod val="50000"/>
                  </a:schemeClr>
                </a:solidFill>
              </a:rPr>
              <a:t>Proposed Implementation</a:t>
            </a:r>
          </a:p>
          <a:p>
            <a:endParaRPr lang="en-US" sz="2000" dirty="0">
              <a:solidFill>
                <a:schemeClr val="bg1">
                  <a:lumMod val="50000"/>
                </a:schemeClr>
              </a:solidFill>
            </a:endParaRPr>
          </a:p>
          <a:p>
            <a:r>
              <a:rPr lang="en-US" sz="2000" dirty="0" smtClean="0">
                <a:solidFill>
                  <a:schemeClr val="bg1">
                    <a:lumMod val="50000"/>
                  </a:schemeClr>
                </a:solidFill>
              </a:rPr>
              <a:t>Building Blocks</a:t>
            </a:r>
          </a:p>
          <a:p>
            <a:endParaRPr lang="en-US" sz="2000" dirty="0">
              <a:solidFill>
                <a:schemeClr val="bg1">
                  <a:lumMod val="50000"/>
                </a:schemeClr>
              </a:solidFill>
            </a:endParaRPr>
          </a:p>
          <a:p>
            <a:r>
              <a:rPr lang="en-US" sz="2000" dirty="0" smtClean="0">
                <a:solidFill>
                  <a:schemeClr val="bg1">
                    <a:lumMod val="50000"/>
                  </a:schemeClr>
                </a:solidFill>
              </a:rPr>
              <a:t>Demo</a:t>
            </a:r>
          </a:p>
          <a:p>
            <a:endParaRPr lang="en-US" sz="2000" dirty="0" smtClean="0">
              <a:solidFill>
                <a:schemeClr val="bg1">
                  <a:lumMod val="50000"/>
                </a:schemeClr>
              </a:solidFill>
            </a:endParaRPr>
          </a:p>
          <a:p>
            <a:r>
              <a:rPr lang="en-US" sz="2000" dirty="0" smtClean="0">
                <a:solidFill>
                  <a:schemeClr val="bg1">
                    <a:lumMod val="50000"/>
                  </a:schemeClr>
                </a:solidFill>
              </a:rPr>
              <a:t>Where do we go from here ?</a:t>
            </a:r>
            <a:endParaRPr lang="en-US" sz="2000" dirty="0">
              <a:solidFill>
                <a:schemeClr val="bg1">
                  <a:lumMod val="50000"/>
                </a:schemeClr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161235" y="0"/>
            <a:ext cx="6858000" cy="6858000"/>
          </a:xfrm>
          <a:prstGeom prst="rect">
            <a:avLst/>
          </a:prstGeom>
        </p:spPr>
      </p:pic>
      <p:sp>
        <p:nvSpPr>
          <p:cNvPr id="18" name="Rounded Rectangle 17"/>
          <p:cNvSpPr/>
          <p:nvPr/>
        </p:nvSpPr>
        <p:spPr>
          <a:xfrm>
            <a:off x="6536312" y="1748214"/>
            <a:ext cx="1097280" cy="91440"/>
          </a:xfrm>
          <a:prstGeom prst="round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6292131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2" grpId="0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15584CA-666C-473A-9746-5F1F99C24F8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897"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C15584CA-666C-473A-9746-5F1F99C24F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0F8D9E86-4235-415D-B5EA-770BAE2641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2766219"/>
            <a:ext cx="12192000" cy="1325563"/>
          </a:xfrm>
        </p:spPr>
        <p:txBody>
          <a:bodyPr vert="horz"/>
          <a:lstStyle/>
          <a:p>
            <a:pPr algn="ctr"/>
            <a:r>
              <a:rPr lang="en-US" sz="4400" dirty="0" smtClean="0">
                <a:cs typeface="Segoe UI Light" panose="020B0502040204020203" pitchFamily="34" charset="0"/>
              </a:rPr>
              <a:t>Hyper parameter tuning the nightmare ..</a:t>
            </a:r>
            <a:endParaRPr lang="en-US" dirty="0"/>
          </a:p>
        </p:txBody>
      </p:sp>
      <p:sp>
        <p:nvSpPr>
          <p:cNvPr id="84" name="Slide Number Placeholder 2">
            <a:extLst>
              <a:ext uri="{FF2B5EF4-FFF2-40B4-BE49-F238E27FC236}">
                <a16:creationId xmlns:a16="http://schemas.microsoft.com/office/drawing/2014/main" id="{717AF783-CABC-4AF2-809A-1DCEABA2CFFD}"/>
              </a:ext>
            </a:extLst>
          </p:cNvPr>
          <p:cNvSpPr txBox="1">
            <a:spLocks/>
          </p:cNvSpPr>
          <p:nvPr/>
        </p:nvSpPr>
        <p:spPr>
          <a:xfrm>
            <a:off x="11604794" y="298450"/>
            <a:ext cx="431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pl-PL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ID" dirty="0" smtClean="0">
                <a:solidFill>
                  <a:schemeClr val="tx1"/>
                </a:solidFill>
              </a:rPr>
              <a:t>0</a:t>
            </a:r>
            <a:fld id="{2CBBA7E6-4538-4F86-A84E-2F9DAC94FB18}" type="slidenum">
              <a:rPr lang="en-ID" smtClean="0">
                <a:solidFill>
                  <a:schemeClr val="tx1"/>
                </a:solidFill>
              </a:rPr>
              <a:pPr algn="ctr"/>
              <a:t>3</a:t>
            </a:fld>
            <a:endParaRPr lang="en-ID" dirty="0">
              <a:solidFill>
                <a:schemeClr val="tx1"/>
              </a:solidFill>
            </a:endParaRPr>
          </a:p>
        </p:txBody>
      </p:sp>
      <p:cxnSp>
        <p:nvCxnSpPr>
          <p:cNvPr id="85" name="Straight Connector 84">
            <a:extLst>
              <a:ext uri="{FF2B5EF4-FFF2-40B4-BE49-F238E27FC236}">
                <a16:creationId xmlns:a16="http://schemas.microsoft.com/office/drawing/2014/main" id="{E76D8B24-ABF5-4567-B965-7BD12085D9C8}"/>
              </a:ext>
            </a:extLst>
          </p:cNvPr>
          <p:cNvCxnSpPr>
            <a:cxnSpLocks/>
          </p:cNvCxnSpPr>
          <p:nvPr/>
        </p:nvCxnSpPr>
        <p:spPr>
          <a:xfrm>
            <a:off x="11798469" y="723906"/>
            <a:ext cx="0" cy="6134094"/>
          </a:xfrm>
          <a:prstGeom prst="line">
            <a:avLst/>
          </a:prstGeom>
          <a:ln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9360695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15584CA-666C-473A-9746-5F1F99C24F8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20"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C15584CA-666C-473A-9746-5F1F99C24F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Slide Number Placeholder 2">
            <a:extLst>
              <a:ext uri="{FF2B5EF4-FFF2-40B4-BE49-F238E27FC236}">
                <a16:creationId xmlns:a16="http://schemas.microsoft.com/office/drawing/2014/main" id="{717AF783-CABC-4AF2-809A-1DCEABA2CFFD}"/>
              </a:ext>
            </a:extLst>
          </p:cNvPr>
          <p:cNvSpPr txBox="1">
            <a:spLocks/>
          </p:cNvSpPr>
          <p:nvPr/>
        </p:nvSpPr>
        <p:spPr>
          <a:xfrm>
            <a:off x="11604794" y="298450"/>
            <a:ext cx="431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pl-PL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ID" dirty="0" smtClean="0">
                <a:solidFill>
                  <a:schemeClr val="tx1"/>
                </a:solidFill>
              </a:rPr>
              <a:t>0</a:t>
            </a:r>
            <a:fld id="{2CBBA7E6-4538-4F86-A84E-2F9DAC94FB18}" type="slidenum">
              <a:rPr lang="en-ID" smtClean="0">
                <a:solidFill>
                  <a:schemeClr val="tx1"/>
                </a:solidFill>
              </a:rPr>
              <a:pPr algn="ctr"/>
              <a:t>4</a:t>
            </a:fld>
            <a:endParaRPr lang="en-ID" dirty="0">
              <a:solidFill>
                <a:schemeClr val="tx1"/>
              </a:solidFill>
            </a:endParaRPr>
          </a:p>
        </p:txBody>
      </p:sp>
      <p:cxnSp>
        <p:nvCxnSpPr>
          <p:cNvPr id="85" name="Straight Connector 84">
            <a:extLst>
              <a:ext uri="{FF2B5EF4-FFF2-40B4-BE49-F238E27FC236}">
                <a16:creationId xmlns:a16="http://schemas.microsoft.com/office/drawing/2014/main" id="{E76D8B24-ABF5-4567-B965-7BD12085D9C8}"/>
              </a:ext>
            </a:extLst>
          </p:cNvPr>
          <p:cNvCxnSpPr>
            <a:cxnSpLocks/>
          </p:cNvCxnSpPr>
          <p:nvPr/>
        </p:nvCxnSpPr>
        <p:spPr>
          <a:xfrm>
            <a:off x="11798469" y="723906"/>
            <a:ext cx="0" cy="6134094"/>
          </a:xfrm>
          <a:prstGeom prst="line">
            <a:avLst/>
          </a:prstGeom>
          <a:ln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24582" name="Picture 6" descr="https://miro.medium.com/max/571/1*5mStLTnIxsANpOHSwAFJhg.pn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03031" y="1670391"/>
            <a:ext cx="7258411" cy="3826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26519E81-C48F-4DC1-8447-5AA3137BE5EE}"/>
              </a:ext>
            </a:extLst>
          </p:cNvPr>
          <p:cNvSpPr/>
          <p:nvPr/>
        </p:nvSpPr>
        <p:spPr>
          <a:xfrm>
            <a:off x="1" y="0"/>
            <a:ext cx="3866004" cy="6850559"/>
          </a:xfrm>
          <a:prstGeom prst="rect">
            <a:avLst/>
          </a:prstGeom>
          <a:solidFill>
            <a:srgbClr val="DCECF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Title 7">
            <a:extLst>
              <a:ext uri="{FF2B5EF4-FFF2-40B4-BE49-F238E27FC236}">
                <a16:creationId xmlns:a16="http://schemas.microsoft.com/office/drawing/2014/main" id="{16EEE594-9703-4E6D-934D-9AD2A3749D46}"/>
              </a:ext>
            </a:extLst>
          </p:cNvPr>
          <p:cNvSpPr txBox="1">
            <a:spLocks/>
          </p:cNvSpPr>
          <p:nvPr/>
        </p:nvSpPr>
        <p:spPr>
          <a:xfrm>
            <a:off x="324212" y="1030670"/>
            <a:ext cx="3221093" cy="7162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en-US" sz="2000" b="1" dirty="0" smtClean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ea typeface="Source Sans Pro Black" panose="020B0803030403020204" pitchFamily="34" charset="0"/>
                <a:cs typeface="Arial" panose="020B0604020202020204" pitchFamily="34" charset="0"/>
              </a:rPr>
              <a:t>Neural Network Possible Hyper Parameters</a:t>
            </a:r>
            <a:endParaRPr lang="en-US" sz="2000" b="1" dirty="0">
              <a:solidFill>
                <a:schemeClr val="bg2">
                  <a:lumMod val="25000"/>
                </a:schemeClr>
              </a:solidFill>
              <a:latin typeface="Arial" panose="020B0604020202020204" pitchFamily="34" charset="0"/>
              <a:ea typeface="Source Sans Pro Black" panose="020B0803030403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6FC8AABA-FA9E-4985-9ACD-BE0270142C9C}"/>
              </a:ext>
            </a:extLst>
          </p:cNvPr>
          <p:cNvSpPr/>
          <p:nvPr/>
        </p:nvSpPr>
        <p:spPr>
          <a:xfrm>
            <a:off x="324213" y="1951686"/>
            <a:ext cx="3092348" cy="477053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600" dirty="0" smtClean="0">
                <a:solidFill>
                  <a:schemeClr val="bg2">
                    <a:lumMod val="50000"/>
                  </a:schemeClr>
                </a:solidFill>
                <a:latin typeface="+mj-lt"/>
              </a:rPr>
              <a:t>Learning Rate</a:t>
            </a:r>
          </a:p>
          <a:p>
            <a:pPr algn="ctr"/>
            <a:endParaRPr lang="en-US" sz="1600" dirty="0">
              <a:solidFill>
                <a:schemeClr val="bg2">
                  <a:lumMod val="50000"/>
                </a:schemeClr>
              </a:solidFill>
              <a:latin typeface="+mj-lt"/>
            </a:endParaRPr>
          </a:p>
          <a:p>
            <a:pPr algn="ctr"/>
            <a:r>
              <a:rPr lang="en-US" sz="1600" dirty="0" smtClean="0">
                <a:solidFill>
                  <a:schemeClr val="bg2">
                    <a:lumMod val="50000"/>
                  </a:schemeClr>
                </a:solidFill>
                <a:latin typeface="+mj-lt"/>
              </a:rPr>
              <a:t>Optimizer</a:t>
            </a:r>
          </a:p>
          <a:p>
            <a:pPr algn="ctr"/>
            <a:endParaRPr lang="en-US" sz="1600" dirty="0">
              <a:solidFill>
                <a:schemeClr val="bg2">
                  <a:lumMod val="50000"/>
                </a:schemeClr>
              </a:solidFill>
              <a:latin typeface="+mj-lt"/>
            </a:endParaRPr>
          </a:p>
          <a:p>
            <a:pPr algn="ctr"/>
            <a:r>
              <a:rPr lang="en-US" sz="1600" dirty="0" smtClean="0">
                <a:solidFill>
                  <a:schemeClr val="bg2">
                    <a:lumMod val="50000"/>
                  </a:schemeClr>
                </a:solidFill>
                <a:latin typeface="+mj-lt"/>
              </a:rPr>
              <a:t>Optimizer Parameters</a:t>
            </a:r>
          </a:p>
          <a:p>
            <a:pPr algn="ctr"/>
            <a:endParaRPr lang="en-US" sz="1600" dirty="0">
              <a:solidFill>
                <a:schemeClr val="bg2">
                  <a:lumMod val="50000"/>
                </a:schemeClr>
              </a:solidFill>
              <a:latin typeface="+mj-lt"/>
            </a:endParaRPr>
          </a:p>
          <a:p>
            <a:pPr algn="ctr"/>
            <a:r>
              <a:rPr lang="en-US" sz="1600" dirty="0" smtClean="0">
                <a:solidFill>
                  <a:schemeClr val="bg2">
                    <a:lumMod val="50000"/>
                  </a:schemeClr>
                </a:solidFill>
                <a:latin typeface="+mj-lt"/>
              </a:rPr>
              <a:t>Batch Size</a:t>
            </a:r>
          </a:p>
          <a:p>
            <a:pPr algn="ctr"/>
            <a:endParaRPr lang="en-US" sz="1600" dirty="0">
              <a:solidFill>
                <a:schemeClr val="bg2">
                  <a:lumMod val="50000"/>
                </a:schemeClr>
              </a:solidFill>
              <a:latin typeface="+mj-lt"/>
            </a:endParaRPr>
          </a:p>
          <a:p>
            <a:pPr algn="ctr"/>
            <a:r>
              <a:rPr lang="en-US" sz="1600" dirty="0" smtClean="0">
                <a:solidFill>
                  <a:schemeClr val="bg2">
                    <a:lumMod val="50000"/>
                  </a:schemeClr>
                </a:solidFill>
                <a:latin typeface="+mj-lt"/>
              </a:rPr>
              <a:t>Loss function</a:t>
            </a:r>
          </a:p>
          <a:p>
            <a:pPr algn="ctr"/>
            <a:endParaRPr lang="en-US" sz="1600" dirty="0">
              <a:solidFill>
                <a:schemeClr val="bg2">
                  <a:lumMod val="50000"/>
                </a:schemeClr>
              </a:solidFill>
              <a:latin typeface="+mj-lt"/>
            </a:endParaRPr>
          </a:p>
          <a:p>
            <a:pPr algn="ctr"/>
            <a:r>
              <a:rPr lang="en-US" sz="1600" dirty="0" smtClean="0">
                <a:solidFill>
                  <a:schemeClr val="bg2">
                    <a:lumMod val="50000"/>
                  </a:schemeClr>
                </a:solidFill>
                <a:latin typeface="+mj-lt"/>
              </a:rPr>
              <a:t>Model depth</a:t>
            </a:r>
          </a:p>
          <a:p>
            <a:pPr algn="ctr"/>
            <a:endParaRPr lang="en-US" sz="1600" dirty="0">
              <a:solidFill>
                <a:schemeClr val="bg2">
                  <a:lumMod val="50000"/>
                </a:schemeClr>
              </a:solidFill>
              <a:latin typeface="+mj-lt"/>
            </a:endParaRPr>
          </a:p>
          <a:p>
            <a:pPr algn="ctr"/>
            <a:r>
              <a:rPr lang="en-US" sz="1600" dirty="0" smtClean="0">
                <a:solidFill>
                  <a:schemeClr val="bg2">
                    <a:lumMod val="50000"/>
                  </a:schemeClr>
                </a:solidFill>
                <a:latin typeface="+mj-lt"/>
              </a:rPr>
              <a:t>Activation Functions</a:t>
            </a:r>
          </a:p>
          <a:p>
            <a:pPr algn="ctr"/>
            <a:endParaRPr lang="en-US" sz="1600" dirty="0">
              <a:solidFill>
                <a:schemeClr val="bg2">
                  <a:lumMod val="50000"/>
                </a:schemeClr>
              </a:solidFill>
              <a:latin typeface="+mj-lt"/>
            </a:endParaRPr>
          </a:p>
          <a:p>
            <a:pPr algn="ctr"/>
            <a:r>
              <a:rPr lang="en-US" sz="1600" dirty="0" smtClean="0">
                <a:solidFill>
                  <a:schemeClr val="bg2">
                    <a:lumMod val="50000"/>
                  </a:schemeClr>
                </a:solidFill>
                <a:latin typeface="+mj-lt"/>
              </a:rPr>
              <a:t>Hidden Nodes</a:t>
            </a:r>
          </a:p>
          <a:p>
            <a:pPr algn="ctr"/>
            <a:endParaRPr lang="en-US" sz="1600" dirty="0">
              <a:solidFill>
                <a:schemeClr val="bg2">
                  <a:lumMod val="50000"/>
                </a:schemeClr>
              </a:solidFill>
              <a:latin typeface="+mj-lt"/>
            </a:endParaRPr>
          </a:p>
          <a:p>
            <a:pPr algn="ctr"/>
            <a:endParaRPr lang="en-US" sz="1600" dirty="0" smtClean="0">
              <a:solidFill>
                <a:schemeClr val="bg2">
                  <a:lumMod val="50000"/>
                </a:schemeClr>
              </a:solidFill>
              <a:latin typeface="+mj-lt"/>
            </a:endParaRPr>
          </a:p>
          <a:p>
            <a:pPr algn="ctr"/>
            <a:endParaRPr lang="en-US" sz="1600" dirty="0">
              <a:solidFill>
                <a:schemeClr val="bg2">
                  <a:lumMod val="50000"/>
                </a:schemeClr>
              </a:solidFill>
              <a:latin typeface="+mj-lt"/>
            </a:endParaRPr>
          </a:p>
          <a:p>
            <a:pPr algn="ctr"/>
            <a:endParaRPr lang="en-US" sz="1600" dirty="0" smtClean="0">
              <a:solidFill>
                <a:schemeClr val="bg2">
                  <a:lumMod val="50000"/>
                </a:schemeClr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68562051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5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458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/>
      <p:bldP spid="11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15584CA-666C-473A-9746-5F1F99C24F8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875"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C15584CA-666C-473A-9746-5F1F99C24F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0F8D9E86-4235-415D-B5EA-770BAE2641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2766219"/>
            <a:ext cx="12192000" cy="1325563"/>
          </a:xfrm>
        </p:spPr>
        <p:txBody>
          <a:bodyPr vert="horz"/>
          <a:lstStyle/>
          <a:p>
            <a:pPr algn="ctr"/>
            <a:r>
              <a:rPr lang="en-US" sz="4400" dirty="0" smtClean="0">
                <a:cs typeface="Segoe UI Light" panose="020B0502040204020203" pitchFamily="34" charset="0"/>
              </a:rPr>
              <a:t>How is it done normally?</a:t>
            </a:r>
            <a:endParaRPr lang="en-US" dirty="0"/>
          </a:p>
        </p:txBody>
      </p:sp>
      <p:sp>
        <p:nvSpPr>
          <p:cNvPr id="84" name="Slide Number Placeholder 2">
            <a:extLst>
              <a:ext uri="{FF2B5EF4-FFF2-40B4-BE49-F238E27FC236}">
                <a16:creationId xmlns:a16="http://schemas.microsoft.com/office/drawing/2014/main" id="{717AF783-CABC-4AF2-809A-1DCEABA2CFFD}"/>
              </a:ext>
            </a:extLst>
          </p:cNvPr>
          <p:cNvSpPr txBox="1">
            <a:spLocks/>
          </p:cNvSpPr>
          <p:nvPr/>
        </p:nvSpPr>
        <p:spPr>
          <a:xfrm>
            <a:off x="11604794" y="298450"/>
            <a:ext cx="431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pl-PL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ID" dirty="0" smtClean="0">
                <a:solidFill>
                  <a:schemeClr val="tx1"/>
                </a:solidFill>
              </a:rPr>
              <a:t>0</a:t>
            </a:r>
            <a:fld id="{2CBBA7E6-4538-4F86-A84E-2F9DAC94FB18}" type="slidenum">
              <a:rPr lang="en-ID" smtClean="0">
                <a:solidFill>
                  <a:schemeClr val="tx1"/>
                </a:solidFill>
              </a:rPr>
              <a:pPr algn="ctr"/>
              <a:t>5</a:t>
            </a:fld>
            <a:endParaRPr lang="en-ID" dirty="0">
              <a:solidFill>
                <a:schemeClr val="tx1"/>
              </a:solidFill>
            </a:endParaRPr>
          </a:p>
        </p:txBody>
      </p:sp>
      <p:cxnSp>
        <p:nvCxnSpPr>
          <p:cNvPr id="85" name="Straight Connector 84">
            <a:extLst>
              <a:ext uri="{FF2B5EF4-FFF2-40B4-BE49-F238E27FC236}">
                <a16:creationId xmlns:a16="http://schemas.microsoft.com/office/drawing/2014/main" id="{E76D8B24-ABF5-4567-B965-7BD12085D9C8}"/>
              </a:ext>
            </a:extLst>
          </p:cNvPr>
          <p:cNvCxnSpPr>
            <a:cxnSpLocks/>
          </p:cNvCxnSpPr>
          <p:nvPr/>
        </p:nvCxnSpPr>
        <p:spPr>
          <a:xfrm>
            <a:off x="11798469" y="723906"/>
            <a:ext cx="0" cy="6134094"/>
          </a:xfrm>
          <a:prstGeom prst="line">
            <a:avLst/>
          </a:prstGeom>
          <a:ln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9405317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15584CA-666C-473A-9746-5F1F99C24F8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944"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C15584CA-666C-473A-9746-5F1F99C24F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7" name="Rectangle 26">
            <a:extLst>
              <a:ext uri="{FF2B5EF4-FFF2-40B4-BE49-F238E27FC236}">
                <a16:creationId xmlns:a16="http://schemas.microsoft.com/office/drawing/2014/main" id="{B111D7C0-EFF6-437C-9B9C-4CAE8A14D739}"/>
              </a:ext>
            </a:extLst>
          </p:cNvPr>
          <p:cNvSpPr/>
          <p:nvPr/>
        </p:nvSpPr>
        <p:spPr>
          <a:xfrm>
            <a:off x="6247517" y="1061711"/>
            <a:ext cx="4940107" cy="461509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Freeform 5">
            <a:extLst>
              <a:ext uri="{FF2B5EF4-FFF2-40B4-BE49-F238E27FC236}">
                <a16:creationId xmlns:a16="http://schemas.microsoft.com/office/drawing/2014/main" id="{A6AB7DFC-32AA-461D-872B-26FCAEBEDB82}"/>
              </a:ext>
            </a:extLst>
          </p:cNvPr>
          <p:cNvSpPr>
            <a:spLocks/>
          </p:cNvSpPr>
          <p:nvPr/>
        </p:nvSpPr>
        <p:spPr bwMode="auto">
          <a:xfrm>
            <a:off x="149785" y="1061711"/>
            <a:ext cx="2695804" cy="3030091"/>
          </a:xfrm>
          <a:custGeom>
            <a:avLst/>
            <a:gdLst>
              <a:gd name="T0" fmla="*/ 0 w 1629"/>
              <a:gd name="T1" fmla="*/ 1665 h 1831"/>
              <a:gd name="T2" fmla="*/ 1449 w 1629"/>
              <a:gd name="T3" fmla="*/ 0 h 1831"/>
              <a:gd name="T4" fmla="*/ 1629 w 1629"/>
              <a:gd name="T5" fmla="*/ 407 h 1831"/>
              <a:gd name="T6" fmla="*/ 390 w 1629"/>
              <a:gd name="T7" fmla="*/ 1831 h 1831"/>
              <a:gd name="T8" fmla="*/ 0 w 1629"/>
              <a:gd name="T9" fmla="*/ 1665 h 18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629" h="1831">
                <a:moveTo>
                  <a:pt x="0" y="1665"/>
                </a:moveTo>
                <a:lnTo>
                  <a:pt x="1449" y="0"/>
                </a:lnTo>
                <a:lnTo>
                  <a:pt x="1629" y="407"/>
                </a:lnTo>
                <a:lnTo>
                  <a:pt x="390" y="1831"/>
                </a:lnTo>
                <a:lnTo>
                  <a:pt x="0" y="1665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Freeform 6">
            <a:extLst>
              <a:ext uri="{FF2B5EF4-FFF2-40B4-BE49-F238E27FC236}">
                <a16:creationId xmlns:a16="http://schemas.microsoft.com/office/drawing/2014/main" id="{66CB4448-D2E1-49CD-A56C-15E7D6D4085A}"/>
              </a:ext>
            </a:extLst>
          </p:cNvPr>
          <p:cNvSpPr>
            <a:spLocks/>
          </p:cNvSpPr>
          <p:nvPr/>
        </p:nvSpPr>
        <p:spPr bwMode="auto">
          <a:xfrm>
            <a:off x="2547711" y="1061711"/>
            <a:ext cx="2258915" cy="2191065"/>
          </a:xfrm>
          <a:custGeom>
            <a:avLst/>
            <a:gdLst>
              <a:gd name="T0" fmla="*/ 1365 w 1365"/>
              <a:gd name="T1" fmla="*/ 1078 h 1324"/>
              <a:gd name="T2" fmla="*/ 1339 w 1365"/>
              <a:gd name="T3" fmla="*/ 1324 h 1324"/>
              <a:gd name="T4" fmla="*/ 180 w 1365"/>
              <a:gd name="T5" fmla="*/ 407 h 1324"/>
              <a:gd name="T6" fmla="*/ 0 w 1365"/>
              <a:gd name="T7" fmla="*/ 0 h 1324"/>
              <a:gd name="T8" fmla="*/ 1365 w 1365"/>
              <a:gd name="T9" fmla="*/ 1078 h 13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365" h="1324">
                <a:moveTo>
                  <a:pt x="1365" y="1078"/>
                </a:moveTo>
                <a:lnTo>
                  <a:pt x="1339" y="1324"/>
                </a:lnTo>
                <a:lnTo>
                  <a:pt x="180" y="407"/>
                </a:lnTo>
                <a:lnTo>
                  <a:pt x="0" y="0"/>
                </a:lnTo>
                <a:lnTo>
                  <a:pt x="1365" y="1078"/>
                </a:lnTo>
                <a:close/>
              </a:path>
            </a:pathLst>
          </a:custGeom>
          <a:solidFill>
            <a:schemeClr val="accent1">
              <a:lumMod val="75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Freeform 7">
            <a:extLst>
              <a:ext uri="{FF2B5EF4-FFF2-40B4-BE49-F238E27FC236}">
                <a16:creationId xmlns:a16="http://schemas.microsoft.com/office/drawing/2014/main" id="{5CE0B910-CAC5-46C6-BDB4-9EE5C2AAAFA6}"/>
              </a:ext>
            </a:extLst>
          </p:cNvPr>
          <p:cNvSpPr>
            <a:spLocks/>
          </p:cNvSpPr>
          <p:nvPr/>
        </p:nvSpPr>
        <p:spPr bwMode="auto">
          <a:xfrm>
            <a:off x="795189" y="1735249"/>
            <a:ext cx="3968409" cy="2356553"/>
          </a:xfrm>
          <a:custGeom>
            <a:avLst/>
            <a:gdLst>
              <a:gd name="T0" fmla="*/ 0 w 2398"/>
              <a:gd name="T1" fmla="*/ 1424 h 1424"/>
              <a:gd name="T2" fmla="*/ 2398 w 2398"/>
              <a:gd name="T3" fmla="*/ 917 h 1424"/>
              <a:gd name="T4" fmla="*/ 1239 w 2398"/>
              <a:gd name="T5" fmla="*/ 0 h 1424"/>
              <a:gd name="T6" fmla="*/ 0 w 2398"/>
              <a:gd name="T7" fmla="*/ 1424 h 14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2398" h="1424">
                <a:moveTo>
                  <a:pt x="0" y="1424"/>
                </a:moveTo>
                <a:lnTo>
                  <a:pt x="2398" y="917"/>
                </a:lnTo>
                <a:lnTo>
                  <a:pt x="1239" y="0"/>
                </a:lnTo>
                <a:lnTo>
                  <a:pt x="0" y="1424"/>
                </a:lnTo>
                <a:close/>
              </a:path>
            </a:pathLst>
          </a:custGeom>
          <a:solidFill>
            <a:schemeClr val="accent1">
              <a:lumMod val="5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Freeform 8">
            <a:extLst>
              <a:ext uri="{FF2B5EF4-FFF2-40B4-BE49-F238E27FC236}">
                <a16:creationId xmlns:a16="http://schemas.microsoft.com/office/drawing/2014/main" id="{F4EB45DD-A4E7-49A1-845E-35BEFF4FB44E}"/>
              </a:ext>
            </a:extLst>
          </p:cNvPr>
          <p:cNvSpPr>
            <a:spLocks/>
          </p:cNvSpPr>
          <p:nvPr/>
        </p:nvSpPr>
        <p:spPr bwMode="auto">
          <a:xfrm>
            <a:off x="3037556" y="2190341"/>
            <a:ext cx="1686326" cy="1740937"/>
          </a:xfrm>
          <a:custGeom>
            <a:avLst/>
            <a:gdLst>
              <a:gd name="T0" fmla="*/ 1019 w 1019"/>
              <a:gd name="T1" fmla="*/ 808 h 1052"/>
              <a:gd name="T2" fmla="*/ 993 w 1019"/>
              <a:gd name="T3" fmla="*/ 1052 h 1052"/>
              <a:gd name="T4" fmla="*/ 164 w 1019"/>
              <a:gd name="T5" fmla="*/ 407 h 1052"/>
              <a:gd name="T6" fmla="*/ 0 w 1019"/>
              <a:gd name="T7" fmla="*/ 0 h 1052"/>
              <a:gd name="T8" fmla="*/ 1019 w 1019"/>
              <a:gd name="T9" fmla="*/ 808 h 10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019" h="1052">
                <a:moveTo>
                  <a:pt x="1019" y="808"/>
                </a:moveTo>
                <a:lnTo>
                  <a:pt x="993" y="1052"/>
                </a:lnTo>
                <a:lnTo>
                  <a:pt x="164" y="407"/>
                </a:lnTo>
                <a:lnTo>
                  <a:pt x="0" y="0"/>
                </a:lnTo>
                <a:lnTo>
                  <a:pt x="1019" y="808"/>
                </a:lnTo>
                <a:close/>
              </a:path>
            </a:pathLst>
          </a:custGeom>
          <a:solidFill>
            <a:schemeClr val="accent1">
              <a:lumMod val="75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Freeform 9">
            <a:extLst>
              <a:ext uri="{FF2B5EF4-FFF2-40B4-BE49-F238E27FC236}">
                <a16:creationId xmlns:a16="http://schemas.microsoft.com/office/drawing/2014/main" id="{CE56F32D-A7BE-40D9-BD77-71CC63E660DF}"/>
              </a:ext>
            </a:extLst>
          </p:cNvPr>
          <p:cNvSpPr>
            <a:spLocks/>
          </p:cNvSpPr>
          <p:nvPr/>
        </p:nvSpPr>
        <p:spPr bwMode="auto">
          <a:xfrm>
            <a:off x="1227114" y="2190341"/>
            <a:ext cx="2081842" cy="2351589"/>
          </a:xfrm>
          <a:custGeom>
            <a:avLst/>
            <a:gdLst>
              <a:gd name="T0" fmla="*/ 0 w 1258"/>
              <a:gd name="T1" fmla="*/ 1255 h 1421"/>
              <a:gd name="T2" fmla="*/ 381 w 1258"/>
              <a:gd name="T3" fmla="*/ 1421 h 1421"/>
              <a:gd name="T4" fmla="*/ 1258 w 1258"/>
              <a:gd name="T5" fmla="*/ 407 h 1421"/>
              <a:gd name="T6" fmla="*/ 1094 w 1258"/>
              <a:gd name="T7" fmla="*/ 0 h 1421"/>
              <a:gd name="T8" fmla="*/ 0 w 1258"/>
              <a:gd name="T9" fmla="*/ 1255 h 14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58" h="1421">
                <a:moveTo>
                  <a:pt x="0" y="1255"/>
                </a:moveTo>
                <a:lnTo>
                  <a:pt x="381" y="1421"/>
                </a:lnTo>
                <a:lnTo>
                  <a:pt x="1258" y="407"/>
                </a:lnTo>
                <a:lnTo>
                  <a:pt x="1094" y="0"/>
                </a:lnTo>
                <a:lnTo>
                  <a:pt x="0" y="1255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" name="Freeform 10">
            <a:extLst>
              <a:ext uri="{FF2B5EF4-FFF2-40B4-BE49-F238E27FC236}">
                <a16:creationId xmlns:a16="http://schemas.microsoft.com/office/drawing/2014/main" id="{A5A2077B-69EC-40DA-8B7F-880692DAC64B}"/>
              </a:ext>
            </a:extLst>
          </p:cNvPr>
          <p:cNvSpPr>
            <a:spLocks/>
          </p:cNvSpPr>
          <p:nvPr/>
        </p:nvSpPr>
        <p:spPr bwMode="auto">
          <a:xfrm>
            <a:off x="1857624" y="2863879"/>
            <a:ext cx="2823230" cy="1678051"/>
          </a:xfrm>
          <a:custGeom>
            <a:avLst/>
            <a:gdLst>
              <a:gd name="T0" fmla="*/ 1706 w 1706"/>
              <a:gd name="T1" fmla="*/ 645 h 1014"/>
              <a:gd name="T2" fmla="*/ 0 w 1706"/>
              <a:gd name="T3" fmla="*/ 1014 h 1014"/>
              <a:gd name="T4" fmla="*/ 877 w 1706"/>
              <a:gd name="T5" fmla="*/ 0 h 1014"/>
              <a:gd name="T6" fmla="*/ 1706 w 1706"/>
              <a:gd name="T7" fmla="*/ 645 h 10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1706" h="1014">
                <a:moveTo>
                  <a:pt x="1706" y="645"/>
                </a:moveTo>
                <a:lnTo>
                  <a:pt x="0" y="1014"/>
                </a:lnTo>
                <a:lnTo>
                  <a:pt x="877" y="0"/>
                </a:lnTo>
                <a:lnTo>
                  <a:pt x="1706" y="645"/>
                </a:lnTo>
                <a:close/>
              </a:path>
            </a:pathLst>
          </a:custGeom>
          <a:solidFill>
            <a:schemeClr val="accent1">
              <a:lumMod val="5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" name="Freeform 11">
            <a:extLst>
              <a:ext uri="{FF2B5EF4-FFF2-40B4-BE49-F238E27FC236}">
                <a16:creationId xmlns:a16="http://schemas.microsoft.com/office/drawing/2014/main" id="{0C381254-A96E-4AE2-9665-EE5F9AF2F0BE}"/>
              </a:ext>
            </a:extLst>
          </p:cNvPr>
          <p:cNvSpPr>
            <a:spLocks/>
          </p:cNvSpPr>
          <p:nvPr/>
        </p:nvSpPr>
        <p:spPr bwMode="auto">
          <a:xfrm>
            <a:off x="2258106" y="3287529"/>
            <a:ext cx="1520838" cy="1712804"/>
          </a:xfrm>
          <a:custGeom>
            <a:avLst/>
            <a:gdLst>
              <a:gd name="T0" fmla="*/ 0 w 919"/>
              <a:gd name="T1" fmla="*/ 860 h 1035"/>
              <a:gd name="T2" fmla="*/ 388 w 919"/>
              <a:gd name="T3" fmla="*/ 1035 h 1035"/>
              <a:gd name="T4" fmla="*/ 919 w 919"/>
              <a:gd name="T5" fmla="*/ 424 h 1035"/>
              <a:gd name="T6" fmla="*/ 746 w 919"/>
              <a:gd name="T7" fmla="*/ 0 h 1035"/>
              <a:gd name="T8" fmla="*/ 0 w 919"/>
              <a:gd name="T9" fmla="*/ 860 h 103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919" h="1035">
                <a:moveTo>
                  <a:pt x="0" y="860"/>
                </a:moveTo>
                <a:lnTo>
                  <a:pt x="388" y="1035"/>
                </a:lnTo>
                <a:lnTo>
                  <a:pt x="919" y="424"/>
                </a:lnTo>
                <a:lnTo>
                  <a:pt x="746" y="0"/>
                </a:lnTo>
                <a:lnTo>
                  <a:pt x="0" y="86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3" name="Freeform 12">
            <a:extLst>
              <a:ext uri="{FF2B5EF4-FFF2-40B4-BE49-F238E27FC236}">
                <a16:creationId xmlns:a16="http://schemas.microsoft.com/office/drawing/2014/main" id="{AB756B0C-C871-4C04-AECE-3FD174FB8537}"/>
              </a:ext>
            </a:extLst>
          </p:cNvPr>
          <p:cNvSpPr>
            <a:spLocks/>
          </p:cNvSpPr>
          <p:nvPr/>
        </p:nvSpPr>
        <p:spPr bwMode="auto">
          <a:xfrm>
            <a:off x="3492648" y="3287529"/>
            <a:ext cx="1160073" cy="1348730"/>
          </a:xfrm>
          <a:custGeom>
            <a:avLst/>
            <a:gdLst>
              <a:gd name="T0" fmla="*/ 701 w 701"/>
              <a:gd name="T1" fmla="*/ 564 h 815"/>
              <a:gd name="T2" fmla="*/ 675 w 701"/>
              <a:gd name="T3" fmla="*/ 815 h 815"/>
              <a:gd name="T4" fmla="*/ 173 w 701"/>
              <a:gd name="T5" fmla="*/ 424 h 815"/>
              <a:gd name="T6" fmla="*/ 0 w 701"/>
              <a:gd name="T7" fmla="*/ 0 h 815"/>
              <a:gd name="T8" fmla="*/ 701 w 701"/>
              <a:gd name="T9" fmla="*/ 564 h 8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701" h="815">
                <a:moveTo>
                  <a:pt x="701" y="564"/>
                </a:moveTo>
                <a:lnTo>
                  <a:pt x="675" y="815"/>
                </a:lnTo>
                <a:lnTo>
                  <a:pt x="173" y="424"/>
                </a:lnTo>
                <a:lnTo>
                  <a:pt x="0" y="0"/>
                </a:lnTo>
                <a:lnTo>
                  <a:pt x="701" y="564"/>
                </a:lnTo>
                <a:close/>
              </a:path>
            </a:pathLst>
          </a:custGeom>
          <a:solidFill>
            <a:schemeClr val="accent1">
              <a:lumMod val="75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4" name="Freeform 13">
            <a:extLst>
              <a:ext uri="{FF2B5EF4-FFF2-40B4-BE49-F238E27FC236}">
                <a16:creationId xmlns:a16="http://schemas.microsoft.com/office/drawing/2014/main" id="{4EB17077-55A9-4713-ABCB-4D342F774678}"/>
              </a:ext>
            </a:extLst>
          </p:cNvPr>
          <p:cNvSpPr>
            <a:spLocks/>
          </p:cNvSpPr>
          <p:nvPr/>
        </p:nvSpPr>
        <p:spPr bwMode="auto">
          <a:xfrm>
            <a:off x="2900200" y="3989199"/>
            <a:ext cx="1709494" cy="1011134"/>
          </a:xfrm>
          <a:custGeom>
            <a:avLst/>
            <a:gdLst>
              <a:gd name="T0" fmla="*/ 0 w 1033"/>
              <a:gd name="T1" fmla="*/ 611 h 611"/>
              <a:gd name="T2" fmla="*/ 1033 w 1033"/>
              <a:gd name="T3" fmla="*/ 391 h 611"/>
              <a:gd name="T4" fmla="*/ 531 w 1033"/>
              <a:gd name="T5" fmla="*/ 0 h 611"/>
              <a:gd name="T6" fmla="*/ 0 w 1033"/>
              <a:gd name="T7" fmla="*/ 611 h 6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1033" h="611">
                <a:moveTo>
                  <a:pt x="0" y="611"/>
                </a:moveTo>
                <a:lnTo>
                  <a:pt x="1033" y="391"/>
                </a:lnTo>
                <a:lnTo>
                  <a:pt x="531" y="0"/>
                </a:lnTo>
                <a:lnTo>
                  <a:pt x="0" y="611"/>
                </a:lnTo>
                <a:close/>
              </a:path>
            </a:pathLst>
          </a:custGeom>
          <a:solidFill>
            <a:schemeClr val="accent1">
              <a:lumMod val="5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5" name="Freeform 14">
            <a:extLst>
              <a:ext uri="{FF2B5EF4-FFF2-40B4-BE49-F238E27FC236}">
                <a16:creationId xmlns:a16="http://schemas.microsoft.com/office/drawing/2014/main" id="{8F8DA762-155E-4BFA-8B72-7475C76C3F6A}"/>
              </a:ext>
            </a:extLst>
          </p:cNvPr>
          <p:cNvSpPr>
            <a:spLocks/>
          </p:cNvSpPr>
          <p:nvPr/>
        </p:nvSpPr>
        <p:spPr bwMode="auto">
          <a:xfrm>
            <a:off x="3982493" y="4436017"/>
            <a:ext cx="595758" cy="1226269"/>
          </a:xfrm>
          <a:custGeom>
            <a:avLst/>
            <a:gdLst>
              <a:gd name="T0" fmla="*/ 0 w 360"/>
              <a:gd name="T1" fmla="*/ 0 h 741"/>
              <a:gd name="T2" fmla="*/ 306 w 360"/>
              <a:gd name="T3" fmla="*/ 741 h 741"/>
              <a:gd name="T4" fmla="*/ 360 w 360"/>
              <a:gd name="T5" fmla="*/ 282 h 741"/>
              <a:gd name="T6" fmla="*/ 0 w 360"/>
              <a:gd name="T7" fmla="*/ 0 h 74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60" h="741">
                <a:moveTo>
                  <a:pt x="0" y="0"/>
                </a:moveTo>
                <a:lnTo>
                  <a:pt x="306" y="741"/>
                </a:lnTo>
                <a:lnTo>
                  <a:pt x="360" y="282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>
              <a:lumMod val="75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6" name="Freeform 15">
            <a:extLst>
              <a:ext uri="{FF2B5EF4-FFF2-40B4-BE49-F238E27FC236}">
                <a16:creationId xmlns:a16="http://schemas.microsoft.com/office/drawing/2014/main" id="{C7849E39-0DFD-45B3-8E08-8CEAC878B91A}"/>
              </a:ext>
            </a:extLst>
          </p:cNvPr>
          <p:cNvSpPr>
            <a:spLocks/>
          </p:cNvSpPr>
          <p:nvPr/>
        </p:nvSpPr>
        <p:spPr bwMode="auto">
          <a:xfrm>
            <a:off x="3343709" y="4436017"/>
            <a:ext cx="1145179" cy="1226269"/>
          </a:xfrm>
          <a:custGeom>
            <a:avLst/>
            <a:gdLst>
              <a:gd name="T0" fmla="*/ 0 w 692"/>
              <a:gd name="T1" fmla="*/ 445 h 741"/>
              <a:gd name="T2" fmla="*/ 692 w 692"/>
              <a:gd name="T3" fmla="*/ 741 h 741"/>
              <a:gd name="T4" fmla="*/ 386 w 692"/>
              <a:gd name="T5" fmla="*/ 0 h 741"/>
              <a:gd name="T6" fmla="*/ 0 w 692"/>
              <a:gd name="T7" fmla="*/ 445 h 74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692" h="741">
                <a:moveTo>
                  <a:pt x="0" y="445"/>
                </a:moveTo>
                <a:lnTo>
                  <a:pt x="692" y="741"/>
                </a:lnTo>
                <a:lnTo>
                  <a:pt x="386" y="0"/>
                </a:lnTo>
                <a:lnTo>
                  <a:pt x="0" y="445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35" name="Group 34">
            <a:extLst>
              <a:ext uri="{FF2B5EF4-FFF2-40B4-BE49-F238E27FC236}">
                <a16:creationId xmlns:a16="http://schemas.microsoft.com/office/drawing/2014/main" id="{875D2E23-0BDD-45E9-BA66-3CF04D77D977}"/>
              </a:ext>
            </a:extLst>
          </p:cNvPr>
          <p:cNvGrpSpPr/>
          <p:nvPr/>
        </p:nvGrpSpPr>
        <p:grpSpPr>
          <a:xfrm>
            <a:off x="7146201" y="2087966"/>
            <a:ext cx="3752157" cy="2307772"/>
            <a:chOff x="4296229" y="2692400"/>
            <a:chExt cx="8984342" cy="2307772"/>
          </a:xfrm>
        </p:grpSpPr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C70A51F7-8C5C-40D3-A9F2-2FC37A9F8F6F}"/>
                </a:ext>
              </a:extLst>
            </p:cNvPr>
            <p:cNvCxnSpPr/>
            <p:nvPr/>
          </p:nvCxnSpPr>
          <p:spPr>
            <a:xfrm>
              <a:off x="4296229" y="2692400"/>
              <a:ext cx="8984342" cy="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5CB8E835-887F-43E5-AD3B-48288B7E7DCE}"/>
                </a:ext>
              </a:extLst>
            </p:cNvPr>
            <p:cNvCxnSpPr/>
            <p:nvPr/>
          </p:nvCxnSpPr>
          <p:spPr>
            <a:xfrm>
              <a:off x="4296229" y="3846286"/>
              <a:ext cx="8984342" cy="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77E302C0-A01B-4C57-9CC0-BB75EC74898D}"/>
                </a:ext>
              </a:extLst>
            </p:cNvPr>
            <p:cNvCxnSpPr/>
            <p:nvPr/>
          </p:nvCxnSpPr>
          <p:spPr>
            <a:xfrm>
              <a:off x="4296229" y="5000172"/>
              <a:ext cx="8984342" cy="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3" name="Oval 22">
            <a:extLst>
              <a:ext uri="{FF2B5EF4-FFF2-40B4-BE49-F238E27FC236}">
                <a16:creationId xmlns:a16="http://schemas.microsoft.com/office/drawing/2014/main" id="{2136B286-1CBC-465D-A3C7-41E4C42E6CC1}"/>
              </a:ext>
            </a:extLst>
          </p:cNvPr>
          <p:cNvSpPr/>
          <p:nvPr/>
        </p:nvSpPr>
        <p:spPr>
          <a:xfrm>
            <a:off x="5917317" y="1283963"/>
            <a:ext cx="660400" cy="660400"/>
          </a:xfrm>
          <a:prstGeom prst="ellipse">
            <a:avLst/>
          </a:prstGeom>
          <a:ln w="1270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Oval 23">
            <a:extLst>
              <a:ext uri="{FF2B5EF4-FFF2-40B4-BE49-F238E27FC236}">
                <a16:creationId xmlns:a16="http://schemas.microsoft.com/office/drawing/2014/main" id="{39D51193-107C-4DF7-90F5-0DDD368FD6BA}"/>
              </a:ext>
            </a:extLst>
          </p:cNvPr>
          <p:cNvSpPr/>
          <p:nvPr/>
        </p:nvSpPr>
        <p:spPr>
          <a:xfrm>
            <a:off x="5917317" y="2454630"/>
            <a:ext cx="660400" cy="660400"/>
          </a:xfrm>
          <a:prstGeom prst="ellipse">
            <a:avLst/>
          </a:prstGeom>
          <a:ln w="1270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Oval 24">
            <a:extLst>
              <a:ext uri="{FF2B5EF4-FFF2-40B4-BE49-F238E27FC236}">
                <a16:creationId xmlns:a16="http://schemas.microsoft.com/office/drawing/2014/main" id="{7800635B-4FA6-4156-A0E3-24A660ED7F8A}"/>
              </a:ext>
            </a:extLst>
          </p:cNvPr>
          <p:cNvSpPr/>
          <p:nvPr/>
        </p:nvSpPr>
        <p:spPr>
          <a:xfrm>
            <a:off x="5917317" y="3608516"/>
            <a:ext cx="660400" cy="660400"/>
          </a:xfrm>
          <a:prstGeom prst="ellipse">
            <a:avLst/>
          </a:prstGeom>
          <a:ln w="1270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Oval 25">
            <a:extLst>
              <a:ext uri="{FF2B5EF4-FFF2-40B4-BE49-F238E27FC236}">
                <a16:creationId xmlns:a16="http://schemas.microsoft.com/office/drawing/2014/main" id="{5DF37437-529B-4556-979C-0547A6A28390}"/>
              </a:ext>
            </a:extLst>
          </p:cNvPr>
          <p:cNvSpPr/>
          <p:nvPr/>
        </p:nvSpPr>
        <p:spPr>
          <a:xfrm>
            <a:off x="5917317" y="4762402"/>
            <a:ext cx="660400" cy="660400"/>
          </a:xfrm>
          <a:prstGeom prst="ellipse">
            <a:avLst/>
          </a:prstGeom>
          <a:ln w="1270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9382F495-FD0D-418C-8558-7146556CFE9F}"/>
              </a:ext>
            </a:extLst>
          </p:cNvPr>
          <p:cNvCxnSpPr>
            <a:cxnSpLocks/>
          </p:cNvCxnSpPr>
          <p:nvPr/>
        </p:nvCxnSpPr>
        <p:spPr>
          <a:xfrm>
            <a:off x="2717726" y="1614163"/>
            <a:ext cx="3246120" cy="0"/>
          </a:xfrm>
          <a:prstGeom prst="line">
            <a:avLst/>
          </a:prstGeom>
          <a:ln w="12700"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1F7C622B-8D3D-4DAF-A988-BB877A4A8795}"/>
              </a:ext>
            </a:extLst>
          </p:cNvPr>
          <p:cNvCxnSpPr>
            <a:cxnSpLocks/>
          </p:cNvCxnSpPr>
          <p:nvPr/>
        </p:nvCxnSpPr>
        <p:spPr>
          <a:xfrm>
            <a:off x="2717726" y="2784830"/>
            <a:ext cx="3246120" cy="0"/>
          </a:xfrm>
          <a:prstGeom prst="line">
            <a:avLst/>
          </a:prstGeom>
          <a:ln w="12700"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E63917CF-F895-416F-8ECA-2B5B301329ED}"/>
              </a:ext>
            </a:extLst>
          </p:cNvPr>
          <p:cNvCxnSpPr>
            <a:cxnSpLocks/>
          </p:cNvCxnSpPr>
          <p:nvPr/>
        </p:nvCxnSpPr>
        <p:spPr>
          <a:xfrm>
            <a:off x="3632126" y="3938716"/>
            <a:ext cx="2331720" cy="0"/>
          </a:xfrm>
          <a:prstGeom prst="line">
            <a:avLst/>
          </a:prstGeom>
          <a:ln w="12700"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85659B58-EB4A-4752-982D-3BD4C8EF5BA3}"/>
              </a:ext>
            </a:extLst>
          </p:cNvPr>
          <p:cNvCxnSpPr>
            <a:cxnSpLocks/>
          </p:cNvCxnSpPr>
          <p:nvPr/>
        </p:nvCxnSpPr>
        <p:spPr>
          <a:xfrm>
            <a:off x="4216961" y="5092602"/>
            <a:ext cx="1746885" cy="0"/>
          </a:xfrm>
          <a:prstGeom prst="line">
            <a:avLst/>
          </a:prstGeom>
          <a:ln w="12700"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Rectangle 36">
            <a:extLst>
              <a:ext uri="{FF2B5EF4-FFF2-40B4-BE49-F238E27FC236}">
                <a16:creationId xmlns:a16="http://schemas.microsoft.com/office/drawing/2014/main" id="{02E47D71-970F-456D-8F26-55F962EFB4C0}"/>
              </a:ext>
            </a:extLst>
          </p:cNvPr>
          <p:cNvSpPr/>
          <p:nvPr/>
        </p:nvSpPr>
        <p:spPr>
          <a:xfrm>
            <a:off x="6861388" y="4966626"/>
            <a:ext cx="4036970" cy="246221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pPr lvl="0"/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Select a </a:t>
            </a:r>
            <a:r>
              <a:rPr lang="en-US" sz="16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dataset</a:t>
            </a:r>
            <a:endParaRPr lang="en-US" sz="1600" dirty="0">
              <a:solidFill>
                <a:schemeClr val="tx1">
                  <a:lumMod val="75000"/>
                  <a:lumOff val="25000"/>
                </a:schemeClr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DFBEC48F-ACC6-4FB9-996B-398AFC202326}"/>
              </a:ext>
            </a:extLst>
          </p:cNvPr>
          <p:cNvSpPr/>
          <p:nvPr/>
        </p:nvSpPr>
        <p:spPr>
          <a:xfrm>
            <a:off x="6861388" y="3715672"/>
            <a:ext cx="4036970" cy="492443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pPr lvl="0"/>
            <a:r>
              <a:rPr lang="en-US" sz="1600" dirty="0" smtClean="0">
                <a:solidFill>
                  <a:srgbClr val="FF000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GUESS</a:t>
            </a:r>
            <a:r>
              <a:rPr lang="en-US" sz="16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 appropriate hyper parameters, 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activation functions and model architecture. </a:t>
            </a: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D04964D0-4EB5-482B-A356-1B1151D65913}"/>
              </a:ext>
            </a:extLst>
          </p:cNvPr>
          <p:cNvSpPr/>
          <p:nvPr/>
        </p:nvSpPr>
        <p:spPr>
          <a:xfrm>
            <a:off x="6861393" y="1304548"/>
            <a:ext cx="4036965" cy="738664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pPr lvl="0"/>
            <a:r>
              <a:rPr lang="en-US" sz="16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If accuracy is not as per expectation </a:t>
            </a:r>
            <a:r>
              <a:rPr lang="en-US" sz="1600" dirty="0" smtClean="0">
                <a:solidFill>
                  <a:srgbClr val="FF000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GUESS</a:t>
            </a:r>
            <a:r>
              <a:rPr lang="en-US" sz="16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 and change hyper parameters and model architecture again  to hopefully get better results</a:t>
            </a:r>
            <a:endParaRPr lang="en-US" sz="1600" dirty="0">
              <a:solidFill>
                <a:schemeClr val="tx1">
                  <a:lumMod val="75000"/>
                  <a:lumOff val="25000"/>
                </a:schemeClr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grpSp>
        <p:nvGrpSpPr>
          <p:cNvPr id="41" name="Group 40">
            <a:extLst>
              <a:ext uri="{FF2B5EF4-FFF2-40B4-BE49-F238E27FC236}">
                <a16:creationId xmlns:a16="http://schemas.microsoft.com/office/drawing/2014/main" id="{9D0A8814-BB1F-4D5D-8ED5-C13688053D7B}"/>
              </a:ext>
            </a:extLst>
          </p:cNvPr>
          <p:cNvGrpSpPr/>
          <p:nvPr/>
        </p:nvGrpSpPr>
        <p:grpSpPr>
          <a:xfrm>
            <a:off x="6117511" y="4956633"/>
            <a:ext cx="260012" cy="271938"/>
            <a:chOff x="2670175" y="5051425"/>
            <a:chExt cx="346075" cy="361950"/>
          </a:xfrm>
          <a:solidFill>
            <a:schemeClr val="bg1"/>
          </a:solidFill>
        </p:grpSpPr>
        <p:sp>
          <p:nvSpPr>
            <p:cNvPr id="42" name="Freeform 1408">
              <a:extLst>
                <a:ext uri="{FF2B5EF4-FFF2-40B4-BE49-F238E27FC236}">
                  <a16:creationId xmlns:a16="http://schemas.microsoft.com/office/drawing/2014/main" id="{63A63204-76F5-4EFA-9890-40D294D7D1B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70175" y="5051425"/>
              <a:ext cx="346075" cy="60325"/>
            </a:xfrm>
            <a:custGeom>
              <a:avLst/>
              <a:gdLst>
                <a:gd name="T0" fmla="*/ 90 w 92"/>
                <a:gd name="T1" fmla="*/ 16 h 16"/>
                <a:gd name="T2" fmla="*/ 2 w 92"/>
                <a:gd name="T3" fmla="*/ 16 h 16"/>
                <a:gd name="T4" fmla="*/ 0 w 92"/>
                <a:gd name="T5" fmla="*/ 14 h 16"/>
                <a:gd name="T6" fmla="*/ 0 w 92"/>
                <a:gd name="T7" fmla="*/ 2 h 16"/>
                <a:gd name="T8" fmla="*/ 2 w 92"/>
                <a:gd name="T9" fmla="*/ 0 h 16"/>
                <a:gd name="T10" fmla="*/ 90 w 92"/>
                <a:gd name="T11" fmla="*/ 0 h 16"/>
                <a:gd name="T12" fmla="*/ 92 w 92"/>
                <a:gd name="T13" fmla="*/ 2 h 16"/>
                <a:gd name="T14" fmla="*/ 92 w 92"/>
                <a:gd name="T15" fmla="*/ 14 h 16"/>
                <a:gd name="T16" fmla="*/ 90 w 92"/>
                <a:gd name="T17" fmla="*/ 16 h 16"/>
                <a:gd name="T18" fmla="*/ 4 w 92"/>
                <a:gd name="T19" fmla="*/ 12 h 16"/>
                <a:gd name="T20" fmla="*/ 88 w 92"/>
                <a:gd name="T21" fmla="*/ 12 h 16"/>
                <a:gd name="T22" fmla="*/ 88 w 92"/>
                <a:gd name="T23" fmla="*/ 4 h 16"/>
                <a:gd name="T24" fmla="*/ 4 w 92"/>
                <a:gd name="T25" fmla="*/ 4 h 16"/>
                <a:gd name="T26" fmla="*/ 4 w 92"/>
                <a:gd name="T2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2" h="16">
                  <a:moveTo>
                    <a:pt x="90" y="16"/>
                  </a:moveTo>
                  <a:cubicBezTo>
                    <a:pt x="2" y="16"/>
                    <a:pt x="2" y="16"/>
                    <a:pt x="2" y="16"/>
                  </a:cubicBezTo>
                  <a:cubicBezTo>
                    <a:pt x="1" y="16"/>
                    <a:pt x="0" y="15"/>
                    <a:pt x="0" y="14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90" y="0"/>
                    <a:pt x="90" y="0"/>
                    <a:pt x="90" y="0"/>
                  </a:cubicBezTo>
                  <a:cubicBezTo>
                    <a:pt x="91" y="0"/>
                    <a:pt x="92" y="1"/>
                    <a:pt x="92" y="2"/>
                  </a:cubicBezTo>
                  <a:cubicBezTo>
                    <a:pt x="92" y="14"/>
                    <a:pt x="92" y="14"/>
                    <a:pt x="92" y="14"/>
                  </a:cubicBezTo>
                  <a:cubicBezTo>
                    <a:pt x="92" y="15"/>
                    <a:pt x="91" y="16"/>
                    <a:pt x="90" y="16"/>
                  </a:cubicBezTo>
                  <a:close/>
                  <a:moveTo>
                    <a:pt x="4" y="12"/>
                  </a:moveTo>
                  <a:cubicBezTo>
                    <a:pt x="88" y="12"/>
                    <a:pt x="88" y="12"/>
                    <a:pt x="88" y="12"/>
                  </a:cubicBezTo>
                  <a:cubicBezTo>
                    <a:pt x="88" y="4"/>
                    <a:pt x="88" y="4"/>
                    <a:pt x="88" y="4"/>
                  </a:cubicBezTo>
                  <a:cubicBezTo>
                    <a:pt x="4" y="4"/>
                    <a:pt x="4" y="4"/>
                    <a:pt x="4" y="4"/>
                  </a:cubicBezTo>
                  <a:lnTo>
                    <a:pt x="4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3" name="Freeform 1409">
              <a:extLst>
                <a:ext uri="{FF2B5EF4-FFF2-40B4-BE49-F238E27FC236}">
                  <a16:creationId xmlns:a16="http://schemas.microsoft.com/office/drawing/2014/main" id="{838C69AE-6D07-4AFE-9CA9-7FA606D18714}"/>
                </a:ext>
              </a:extLst>
            </p:cNvPr>
            <p:cNvSpPr>
              <a:spLocks/>
            </p:cNvSpPr>
            <p:nvPr/>
          </p:nvSpPr>
          <p:spPr bwMode="auto">
            <a:xfrm>
              <a:off x="2670175" y="5307013"/>
              <a:ext cx="346075" cy="15875"/>
            </a:xfrm>
            <a:custGeom>
              <a:avLst/>
              <a:gdLst>
                <a:gd name="T0" fmla="*/ 90 w 92"/>
                <a:gd name="T1" fmla="*/ 4 h 4"/>
                <a:gd name="T2" fmla="*/ 2 w 92"/>
                <a:gd name="T3" fmla="*/ 4 h 4"/>
                <a:gd name="T4" fmla="*/ 0 w 92"/>
                <a:gd name="T5" fmla="*/ 2 h 4"/>
                <a:gd name="T6" fmla="*/ 2 w 92"/>
                <a:gd name="T7" fmla="*/ 0 h 4"/>
                <a:gd name="T8" fmla="*/ 90 w 92"/>
                <a:gd name="T9" fmla="*/ 0 h 4"/>
                <a:gd name="T10" fmla="*/ 92 w 92"/>
                <a:gd name="T11" fmla="*/ 2 h 4"/>
                <a:gd name="T12" fmla="*/ 90 w 92"/>
                <a:gd name="T13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2" h="4">
                  <a:moveTo>
                    <a:pt x="90" y="4"/>
                  </a:moveTo>
                  <a:cubicBezTo>
                    <a:pt x="2" y="4"/>
                    <a:pt x="2" y="4"/>
                    <a:pt x="2" y="4"/>
                  </a:cubicBezTo>
                  <a:cubicBezTo>
                    <a:pt x="1" y="4"/>
                    <a:pt x="0" y="3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90" y="0"/>
                    <a:pt x="90" y="0"/>
                    <a:pt x="90" y="0"/>
                  </a:cubicBezTo>
                  <a:cubicBezTo>
                    <a:pt x="91" y="0"/>
                    <a:pt x="92" y="1"/>
                    <a:pt x="92" y="2"/>
                  </a:cubicBezTo>
                  <a:cubicBezTo>
                    <a:pt x="92" y="3"/>
                    <a:pt x="91" y="4"/>
                    <a:pt x="90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4" name="Freeform 1410">
              <a:extLst>
                <a:ext uri="{FF2B5EF4-FFF2-40B4-BE49-F238E27FC236}">
                  <a16:creationId xmlns:a16="http://schemas.microsoft.com/office/drawing/2014/main" id="{832980CE-B925-433E-9768-DD62AA2DB4F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00338" y="5097463"/>
              <a:ext cx="285750" cy="225425"/>
            </a:xfrm>
            <a:custGeom>
              <a:avLst/>
              <a:gdLst>
                <a:gd name="T0" fmla="*/ 74 w 76"/>
                <a:gd name="T1" fmla="*/ 60 h 60"/>
                <a:gd name="T2" fmla="*/ 2 w 76"/>
                <a:gd name="T3" fmla="*/ 60 h 60"/>
                <a:gd name="T4" fmla="*/ 0 w 76"/>
                <a:gd name="T5" fmla="*/ 58 h 60"/>
                <a:gd name="T6" fmla="*/ 0 w 76"/>
                <a:gd name="T7" fmla="*/ 2 h 60"/>
                <a:gd name="T8" fmla="*/ 2 w 76"/>
                <a:gd name="T9" fmla="*/ 0 h 60"/>
                <a:gd name="T10" fmla="*/ 74 w 76"/>
                <a:gd name="T11" fmla="*/ 0 h 60"/>
                <a:gd name="T12" fmla="*/ 76 w 76"/>
                <a:gd name="T13" fmla="*/ 2 h 60"/>
                <a:gd name="T14" fmla="*/ 76 w 76"/>
                <a:gd name="T15" fmla="*/ 58 h 60"/>
                <a:gd name="T16" fmla="*/ 74 w 76"/>
                <a:gd name="T17" fmla="*/ 60 h 60"/>
                <a:gd name="T18" fmla="*/ 4 w 76"/>
                <a:gd name="T19" fmla="*/ 56 h 60"/>
                <a:gd name="T20" fmla="*/ 72 w 76"/>
                <a:gd name="T21" fmla="*/ 56 h 60"/>
                <a:gd name="T22" fmla="*/ 72 w 76"/>
                <a:gd name="T23" fmla="*/ 4 h 60"/>
                <a:gd name="T24" fmla="*/ 4 w 76"/>
                <a:gd name="T25" fmla="*/ 4 h 60"/>
                <a:gd name="T26" fmla="*/ 4 w 76"/>
                <a:gd name="T27" fmla="*/ 56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6" h="60">
                  <a:moveTo>
                    <a:pt x="74" y="60"/>
                  </a:moveTo>
                  <a:cubicBezTo>
                    <a:pt x="2" y="60"/>
                    <a:pt x="2" y="60"/>
                    <a:pt x="2" y="60"/>
                  </a:cubicBezTo>
                  <a:cubicBezTo>
                    <a:pt x="1" y="60"/>
                    <a:pt x="0" y="59"/>
                    <a:pt x="0" y="58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74" y="0"/>
                    <a:pt x="74" y="0"/>
                    <a:pt x="74" y="0"/>
                  </a:cubicBezTo>
                  <a:cubicBezTo>
                    <a:pt x="75" y="0"/>
                    <a:pt x="76" y="1"/>
                    <a:pt x="76" y="2"/>
                  </a:cubicBezTo>
                  <a:cubicBezTo>
                    <a:pt x="76" y="58"/>
                    <a:pt x="76" y="58"/>
                    <a:pt x="76" y="58"/>
                  </a:cubicBezTo>
                  <a:cubicBezTo>
                    <a:pt x="76" y="59"/>
                    <a:pt x="75" y="60"/>
                    <a:pt x="74" y="60"/>
                  </a:cubicBezTo>
                  <a:close/>
                  <a:moveTo>
                    <a:pt x="4" y="56"/>
                  </a:moveTo>
                  <a:cubicBezTo>
                    <a:pt x="72" y="56"/>
                    <a:pt x="72" y="56"/>
                    <a:pt x="72" y="56"/>
                  </a:cubicBezTo>
                  <a:cubicBezTo>
                    <a:pt x="72" y="4"/>
                    <a:pt x="72" y="4"/>
                    <a:pt x="72" y="4"/>
                  </a:cubicBezTo>
                  <a:cubicBezTo>
                    <a:pt x="4" y="4"/>
                    <a:pt x="4" y="4"/>
                    <a:pt x="4" y="4"/>
                  </a:cubicBezTo>
                  <a:lnTo>
                    <a:pt x="4" y="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5" name="Rectangle 1411">
              <a:extLst>
                <a:ext uri="{FF2B5EF4-FFF2-40B4-BE49-F238E27FC236}">
                  <a16:creationId xmlns:a16="http://schemas.microsoft.com/office/drawing/2014/main" id="{D2E70F41-6281-4E79-8253-5D004077F31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835275" y="5314950"/>
              <a:ext cx="15875" cy="460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6" name="Freeform 1412">
              <a:extLst>
                <a:ext uri="{FF2B5EF4-FFF2-40B4-BE49-F238E27FC236}">
                  <a16:creationId xmlns:a16="http://schemas.microsoft.com/office/drawing/2014/main" id="{8B0EF2C0-42A4-4770-A531-9999B866B37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13050" y="5353050"/>
              <a:ext cx="60325" cy="60325"/>
            </a:xfrm>
            <a:custGeom>
              <a:avLst/>
              <a:gdLst>
                <a:gd name="T0" fmla="*/ 8 w 16"/>
                <a:gd name="T1" fmla="*/ 16 h 16"/>
                <a:gd name="T2" fmla="*/ 0 w 16"/>
                <a:gd name="T3" fmla="*/ 8 h 16"/>
                <a:gd name="T4" fmla="*/ 8 w 16"/>
                <a:gd name="T5" fmla="*/ 0 h 16"/>
                <a:gd name="T6" fmla="*/ 16 w 16"/>
                <a:gd name="T7" fmla="*/ 8 h 16"/>
                <a:gd name="T8" fmla="*/ 8 w 16"/>
                <a:gd name="T9" fmla="*/ 16 h 16"/>
                <a:gd name="T10" fmla="*/ 8 w 16"/>
                <a:gd name="T11" fmla="*/ 4 h 16"/>
                <a:gd name="T12" fmla="*/ 4 w 16"/>
                <a:gd name="T13" fmla="*/ 8 h 16"/>
                <a:gd name="T14" fmla="*/ 8 w 16"/>
                <a:gd name="T15" fmla="*/ 12 h 16"/>
                <a:gd name="T16" fmla="*/ 12 w 16"/>
                <a:gd name="T17" fmla="*/ 8 h 16"/>
                <a:gd name="T18" fmla="*/ 8 w 16"/>
                <a:gd name="T19" fmla="*/ 4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" h="16">
                  <a:moveTo>
                    <a:pt x="8" y="16"/>
                  </a:moveTo>
                  <a:cubicBezTo>
                    <a:pt x="4" y="16"/>
                    <a:pt x="0" y="12"/>
                    <a:pt x="0" y="8"/>
                  </a:cubicBezTo>
                  <a:cubicBezTo>
                    <a:pt x="0" y="4"/>
                    <a:pt x="4" y="0"/>
                    <a:pt x="8" y="0"/>
                  </a:cubicBezTo>
                  <a:cubicBezTo>
                    <a:pt x="12" y="0"/>
                    <a:pt x="16" y="4"/>
                    <a:pt x="16" y="8"/>
                  </a:cubicBezTo>
                  <a:cubicBezTo>
                    <a:pt x="16" y="12"/>
                    <a:pt x="12" y="16"/>
                    <a:pt x="8" y="16"/>
                  </a:cubicBezTo>
                  <a:close/>
                  <a:moveTo>
                    <a:pt x="8" y="4"/>
                  </a:moveTo>
                  <a:cubicBezTo>
                    <a:pt x="6" y="4"/>
                    <a:pt x="4" y="6"/>
                    <a:pt x="4" y="8"/>
                  </a:cubicBezTo>
                  <a:cubicBezTo>
                    <a:pt x="4" y="10"/>
                    <a:pt x="6" y="12"/>
                    <a:pt x="8" y="12"/>
                  </a:cubicBezTo>
                  <a:cubicBezTo>
                    <a:pt x="10" y="12"/>
                    <a:pt x="12" y="10"/>
                    <a:pt x="12" y="8"/>
                  </a:cubicBezTo>
                  <a:cubicBezTo>
                    <a:pt x="12" y="6"/>
                    <a:pt x="10" y="4"/>
                    <a:pt x="8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7" name="Freeform 1413">
              <a:extLst>
                <a:ext uri="{FF2B5EF4-FFF2-40B4-BE49-F238E27FC236}">
                  <a16:creationId xmlns:a16="http://schemas.microsoft.com/office/drawing/2014/main" id="{5C1057CC-4C01-4A05-B01A-8908FFD6B76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30500" y="5141913"/>
              <a:ext cx="134938" cy="134938"/>
            </a:xfrm>
            <a:custGeom>
              <a:avLst/>
              <a:gdLst>
                <a:gd name="T0" fmla="*/ 18 w 36"/>
                <a:gd name="T1" fmla="*/ 36 h 36"/>
                <a:gd name="T2" fmla="*/ 0 w 36"/>
                <a:gd name="T3" fmla="*/ 18 h 36"/>
                <a:gd name="T4" fmla="*/ 18 w 36"/>
                <a:gd name="T5" fmla="*/ 0 h 36"/>
                <a:gd name="T6" fmla="*/ 36 w 36"/>
                <a:gd name="T7" fmla="*/ 18 h 36"/>
                <a:gd name="T8" fmla="*/ 18 w 36"/>
                <a:gd name="T9" fmla="*/ 36 h 36"/>
                <a:gd name="T10" fmla="*/ 18 w 36"/>
                <a:gd name="T11" fmla="*/ 4 h 36"/>
                <a:gd name="T12" fmla="*/ 4 w 36"/>
                <a:gd name="T13" fmla="*/ 18 h 36"/>
                <a:gd name="T14" fmla="*/ 18 w 36"/>
                <a:gd name="T15" fmla="*/ 32 h 36"/>
                <a:gd name="T16" fmla="*/ 32 w 36"/>
                <a:gd name="T17" fmla="*/ 18 h 36"/>
                <a:gd name="T18" fmla="*/ 18 w 36"/>
                <a:gd name="T19" fmla="*/ 4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6" h="36">
                  <a:moveTo>
                    <a:pt x="18" y="36"/>
                  </a:moveTo>
                  <a:cubicBezTo>
                    <a:pt x="8" y="36"/>
                    <a:pt x="0" y="28"/>
                    <a:pt x="0" y="18"/>
                  </a:cubicBezTo>
                  <a:cubicBezTo>
                    <a:pt x="0" y="8"/>
                    <a:pt x="8" y="0"/>
                    <a:pt x="18" y="0"/>
                  </a:cubicBezTo>
                  <a:cubicBezTo>
                    <a:pt x="28" y="0"/>
                    <a:pt x="36" y="8"/>
                    <a:pt x="36" y="18"/>
                  </a:cubicBezTo>
                  <a:cubicBezTo>
                    <a:pt x="36" y="28"/>
                    <a:pt x="28" y="36"/>
                    <a:pt x="18" y="36"/>
                  </a:cubicBezTo>
                  <a:close/>
                  <a:moveTo>
                    <a:pt x="18" y="4"/>
                  </a:moveTo>
                  <a:cubicBezTo>
                    <a:pt x="10" y="4"/>
                    <a:pt x="4" y="10"/>
                    <a:pt x="4" y="18"/>
                  </a:cubicBezTo>
                  <a:cubicBezTo>
                    <a:pt x="4" y="26"/>
                    <a:pt x="10" y="32"/>
                    <a:pt x="18" y="32"/>
                  </a:cubicBezTo>
                  <a:cubicBezTo>
                    <a:pt x="26" y="32"/>
                    <a:pt x="32" y="26"/>
                    <a:pt x="32" y="18"/>
                  </a:cubicBezTo>
                  <a:cubicBezTo>
                    <a:pt x="32" y="10"/>
                    <a:pt x="26" y="4"/>
                    <a:pt x="18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8" name="Freeform 1414">
              <a:extLst>
                <a:ext uri="{FF2B5EF4-FFF2-40B4-BE49-F238E27FC236}">
                  <a16:creationId xmlns:a16="http://schemas.microsoft.com/office/drawing/2014/main" id="{AE7475F7-02A4-427D-AB5E-908474ACAC0B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0663" y="5149850"/>
              <a:ext cx="104775" cy="68263"/>
            </a:xfrm>
            <a:custGeom>
              <a:avLst/>
              <a:gdLst>
                <a:gd name="T0" fmla="*/ 26 w 28"/>
                <a:gd name="T1" fmla="*/ 18 h 18"/>
                <a:gd name="T2" fmla="*/ 10 w 28"/>
                <a:gd name="T3" fmla="*/ 18 h 18"/>
                <a:gd name="T4" fmla="*/ 8 w 28"/>
                <a:gd name="T5" fmla="*/ 17 h 18"/>
                <a:gd name="T6" fmla="*/ 0 w 28"/>
                <a:gd name="T7" fmla="*/ 3 h 18"/>
                <a:gd name="T8" fmla="*/ 1 w 28"/>
                <a:gd name="T9" fmla="*/ 0 h 18"/>
                <a:gd name="T10" fmla="*/ 4 w 28"/>
                <a:gd name="T11" fmla="*/ 1 h 18"/>
                <a:gd name="T12" fmla="*/ 11 w 28"/>
                <a:gd name="T13" fmla="*/ 14 h 18"/>
                <a:gd name="T14" fmla="*/ 26 w 28"/>
                <a:gd name="T15" fmla="*/ 14 h 18"/>
                <a:gd name="T16" fmla="*/ 28 w 28"/>
                <a:gd name="T17" fmla="*/ 16 h 18"/>
                <a:gd name="T18" fmla="*/ 26 w 28"/>
                <a:gd name="T19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8" h="18">
                  <a:moveTo>
                    <a:pt x="26" y="18"/>
                  </a:moveTo>
                  <a:cubicBezTo>
                    <a:pt x="10" y="18"/>
                    <a:pt x="10" y="18"/>
                    <a:pt x="10" y="18"/>
                  </a:cubicBezTo>
                  <a:cubicBezTo>
                    <a:pt x="9" y="18"/>
                    <a:pt x="9" y="18"/>
                    <a:pt x="8" y="17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2"/>
                    <a:pt x="0" y="1"/>
                    <a:pt x="1" y="0"/>
                  </a:cubicBezTo>
                  <a:cubicBezTo>
                    <a:pt x="2" y="0"/>
                    <a:pt x="3" y="0"/>
                    <a:pt x="4" y="1"/>
                  </a:cubicBezTo>
                  <a:cubicBezTo>
                    <a:pt x="11" y="14"/>
                    <a:pt x="11" y="14"/>
                    <a:pt x="11" y="14"/>
                  </a:cubicBezTo>
                  <a:cubicBezTo>
                    <a:pt x="26" y="14"/>
                    <a:pt x="26" y="14"/>
                    <a:pt x="26" y="14"/>
                  </a:cubicBezTo>
                  <a:cubicBezTo>
                    <a:pt x="27" y="14"/>
                    <a:pt x="28" y="15"/>
                    <a:pt x="28" y="16"/>
                  </a:cubicBezTo>
                  <a:cubicBezTo>
                    <a:pt x="28" y="17"/>
                    <a:pt x="27" y="18"/>
                    <a:pt x="26" y="1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9" name="Freeform 1415">
              <a:extLst>
                <a:ext uri="{FF2B5EF4-FFF2-40B4-BE49-F238E27FC236}">
                  <a16:creationId xmlns:a16="http://schemas.microsoft.com/office/drawing/2014/main" id="{3D520B5D-6848-41EF-BC35-FAB5DE776F3C}"/>
                </a:ext>
              </a:extLst>
            </p:cNvPr>
            <p:cNvSpPr>
              <a:spLocks/>
            </p:cNvSpPr>
            <p:nvPr/>
          </p:nvSpPr>
          <p:spPr bwMode="auto">
            <a:xfrm>
              <a:off x="2790825" y="5202238"/>
              <a:ext cx="25400" cy="74613"/>
            </a:xfrm>
            <a:custGeom>
              <a:avLst/>
              <a:gdLst>
                <a:gd name="T0" fmla="*/ 5 w 7"/>
                <a:gd name="T1" fmla="*/ 20 h 20"/>
                <a:gd name="T2" fmla="*/ 3 w 7"/>
                <a:gd name="T3" fmla="*/ 18 h 20"/>
                <a:gd name="T4" fmla="*/ 0 w 7"/>
                <a:gd name="T5" fmla="*/ 2 h 20"/>
                <a:gd name="T6" fmla="*/ 2 w 7"/>
                <a:gd name="T7" fmla="*/ 0 h 20"/>
                <a:gd name="T8" fmla="*/ 4 w 7"/>
                <a:gd name="T9" fmla="*/ 2 h 20"/>
                <a:gd name="T10" fmla="*/ 7 w 7"/>
                <a:gd name="T11" fmla="*/ 17 h 20"/>
                <a:gd name="T12" fmla="*/ 5 w 7"/>
                <a:gd name="T13" fmla="*/ 20 h 20"/>
                <a:gd name="T14" fmla="*/ 5 w 7"/>
                <a:gd name="T15" fmla="*/ 2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" h="20">
                  <a:moveTo>
                    <a:pt x="5" y="20"/>
                  </a:moveTo>
                  <a:cubicBezTo>
                    <a:pt x="4" y="20"/>
                    <a:pt x="3" y="19"/>
                    <a:pt x="3" y="18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3" y="0"/>
                    <a:pt x="4" y="1"/>
                    <a:pt x="4" y="2"/>
                  </a:cubicBezTo>
                  <a:cubicBezTo>
                    <a:pt x="7" y="17"/>
                    <a:pt x="7" y="17"/>
                    <a:pt x="7" y="17"/>
                  </a:cubicBezTo>
                  <a:cubicBezTo>
                    <a:pt x="7" y="19"/>
                    <a:pt x="6" y="20"/>
                    <a:pt x="5" y="20"/>
                  </a:cubicBezTo>
                  <a:cubicBezTo>
                    <a:pt x="5" y="20"/>
                    <a:pt x="5" y="20"/>
                    <a:pt x="5" y="2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0" name="Freeform 1416">
              <a:extLst>
                <a:ext uri="{FF2B5EF4-FFF2-40B4-BE49-F238E27FC236}">
                  <a16:creationId xmlns:a16="http://schemas.microsoft.com/office/drawing/2014/main" id="{A98C0101-14ED-4FEB-A8AC-7072E5300D1A}"/>
                </a:ext>
              </a:extLst>
            </p:cNvPr>
            <p:cNvSpPr>
              <a:spLocks/>
            </p:cNvSpPr>
            <p:nvPr/>
          </p:nvSpPr>
          <p:spPr bwMode="auto">
            <a:xfrm>
              <a:off x="2895600" y="5141913"/>
              <a:ext cx="60325" cy="15875"/>
            </a:xfrm>
            <a:custGeom>
              <a:avLst/>
              <a:gdLst>
                <a:gd name="T0" fmla="*/ 14 w 16"/>
                <a:gd name="T1" fmla="*/ 4 h 4"/>
                <a:gd name="T2" fmla="*/ 2 w 16"/>
                <a:gd name="T3" fmla="*/ 4 h 4"/>
                <a:gd name="T4" fmla="*/ 0 w 16"/>
                <a:gd name="T5" fmla="*/ 2 h 4"/>
                <a:gd name="T6" fmla="*/ 2 w 16"/>
                <a:gd name="T7" fmla="*/ 0 h 4"/>
                <a:gd name="T8" fmla="*/ 14 w 16"/>
                <a:gd name="T9" fmla="*/ 0 h 4"/>
                <a:gd name="T10" fmla="*/ 16 w 16"/>
                <a:gd name="T11" fmla="*/ 2 h 4"/>
                <a:gd name="T12" fmla="*/ 14 w 16"/>
                <a:gd name="T13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" h="4">
                  <a:moveTo>
                    <a:pt x="14" y="4"/>
                  </a:moveTo>
                  <a:cubicBezTo>
                    <a:pt x="2" y="4"/>
                    <a:pt x="2" y="4"/>
                    <a:pt x="2" y="4"/>
                  </a:cubicBezTo>
                  <a:cubicBezTo>
                    <a:pt x="1" y="4"/>
                    <a:pt x="0" y="3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15" y="0"/>
                    <a:pt x="16" y="1"/>
                    <a:pt x="16" y="2"/>
                  </a:cubicBezTo>
                  <a:cubicBezTo>
                    <a:pt x="16" y="3"/>
                    <a:pt x="15" y="4"/>
                    <a:pt x="14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1" name="Freeform 1417">
              <a:extLst>
                <a:ext uri="{FF2B5EF4-FFF2-40B4-BE49-F238E27FC236}">
                  <a16:creationId xmlns:a16="http://schemas.microsoft.com/office/drawing/2014/main" id="{6CB775B4-4858-43F7-828E-055EE37C54D0}"/>
                </a:ext>
              </a:extLst>
            </p:cNvPr>
            <p:cNvSpPr>
              <a:spLocks/>
            </p:cNvSpPr>
            <p:nvPr/>
          </p:nvSpPr>
          <p:spPr bwMode="auto">
            <a:xfrm>
              <a:off x="2895600" y="5172075"/>
              <a:ext cx="60325" cy="15875"/>
            </a:xfrm>
            <a:custGeom>
              <a:avLst/>
              <a:gdLst>
                <a:gd name="T0" fmla="*/ 14 w 16"/>
                <a:gd name="T1" fmla="*/ 4 h 4"/>
                <a:gd name="T2" fmla="*/ 2 w 16"/>
                <a:gd name="T3" fmla="*/ 4 h 4"/>
                <a:gd name="T4" fmla="*/ 0 w 16"/>
                <a:gd name="T5" fmla="*/ 2 h 4"/>
                <a:gd name="T6" fmla="*/ 2 w 16"/>
                <a:gd name="T7" fmla="*/ 0 h 4"/>
                <a:gd name="T8" fmla="*/ 14 w 16"/>
                <a:gd name="T9" fmla="*/ 0 h 4"/>
                <a:gd name="T10" fmla="*/ 16 w 16"/>
                <a:gd name="T11" fmla="*/ 2 h 4"/>
                <a:gd name="T12" fmla="*/ 14 w 16"/>
                <a:gd name="T13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" h="4">
                  <a:moveTo>
                    <a:pt x="14" y="4"/>
                  </a:moveTo>
                  <a:cubicBezTo>
                    <a:pt x="2" y="4"/>
                    <a:pt x="2" y="4"/>
                    <a:pt x="2" y="4"/>
                  </a:cubicBezTo>
                  <a:cubicBezTo>
                    <a:pt x="1" y="4"/>
                    <a:pt x="0" y="3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15" y="0"/>
                    <a:pt x="16" y="1"/>
                    <a:pt x="16" y="2"/>
                  </a:cubicBezTo>
                  <a:cubicBezTo>
                    <a:pt x="16" y="3"/>
                    <a:pt x="15" y="4"/>
                    <a:pt x="14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2" name="Freeform 1418">
              <a:extLst>
                <a:ext uri="{FF2B5EF4-FFF2-40B4-BE49-F238E27FC236}">
                  <a16:creationId xmlns:a16="http://schemas.microsoft.com/office/drawing/2014/main" id="{1EEBB7DE-523C-4701-BF30-5CF25BBBBC3B}"/>
                </a:ext>
              </a:extLst>
            </p:cNvPr>
            <p:cNvSpPr>
              <a:spLocks/>
            </p:cNvSpPr>
            <p:nvPr/>
          </p:nvSpPr>
          <p:spPr bwMode="auto">
            <a:xfrm>
              <a:off x="2895600" y="5202238"/>
              <a:ext cx="60325" cy="15875"/>
            </a:xfrm>
            <a:custGeom>
              <a:avLst/>
              <a:gdLst>
                <a:gd name="T0" fmla="*/ 14 w 16"/>
                <a:gd name="T1" fmla="*/ 4 h 4"/>
                <a:gd name="T2" fmla="*/ 2 w 16"/>
                <a:gd name="T3" fmla="*/ 4 h 4"/>
                <a:gd name="T4" fmla="*/ 0 w 16"/>
                <a:gd name="T5" fmla="*/ 2 h 4"/>
                <a:gd name="T6" fmla="*/ 2 w 16"/>
                <a:gd name="T7" fmla="*/ 0 h 4"/>
                <a:gd name="T8" fmla="*/ 14 w 16"/>
                <a:gd name="T9" fmla="*/ 0 h 4"/>
                <a:gd name="T10" fmla="*/ 16 w 16"/>
                <a:gd name="T11" fmla="*/ 2 h 4"/>
                <a:gd name="T12" fmla="*/ 14 w 16"/>
                <a:gd name="T13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" h="4">
                  <a:moveTo>
                    <a:pt x="14" y="4"/>
                  </a:moveTo>
                  <a:cubicBezTo>
                    <a:pt x="2" y="4"/>
                    <a:pt x="2" y="4"/>
                    <a:pt x="2" y="4"/>
                  </a:cubicBezTo>
                  <a:cubicBezTo>
                    <a:pt x="1" y="4"/>
                    <a:pt x="0" y="3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15" y="0"/>
                    <a:pt x="16" y="1"/>
                    <a:pt x="16" y="2"/>
                  </a:cubicBezTo>
                  <a:cubicBezTo>
                    <a:pt x="16" y="3"/>
                    <a:pt x="15" y="4"/>
                    <a:pt x="14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53" name="Group 52">
            <a:extLst>
              <a:ext uri="{FF2B5EF4-FFF2-40B4-BE49-F238E27FC236}">
                <a16:creationId xmlns:a16="http://schemas.microsoft.com/office/drawing/2014/main" id="{B1F003F4-F299-4642-AD7F-9203D78BAD28}"/>
              </a:ext>
            </a:extLst>
          </p:cNvPr>
          <p:cNvGrpSpPr/>
          <p:nvPr/>
        </p:nvGrpSpPr>
        <p:grpSpPr>
          <a:xfrm>
            <a:off x="6112144" y="3803343"/>
            <a:ext cx="270746" cy="270746"/>
            <a:chOff x="6997700" y="723900"/>
            <a:chExt cx="360363" cy="360363"/>
          </a:xfrm>
          <a:solidFill>
            <a:schemeClr val="bg1"/>
          </a:solidFill>
        </p:grpSpPr>
        <p:sp>
          <p:nvSpPr>
            <p:cNvPr id="54" name="Freeform 1465">
              <a:extLst>
                <a:ext uri="{FF2B5EF4-FFF2-40B4-BE49-F238E27FC236}">
                  <a16:creationId xmlns:a16="http://schemas.microsoft.com/office/drawing/2014/main" id="{A41AD5A0-C14E-4C3F-A497-F3529EF49D2A}"/>
                </a:ext>
              </a:extLst>
            </p:cNvPr>
            <p:cNvSpPr>
              <a:spLocks/>
            </p:cNvSpPr>
            <p:nvPr/>
          </p:nvSpPr>
          <p:spPr bwMode="auto">
            <a:xfrm>
              <a:off x="7118350" y="889000"/>
              <a:ext cx="14288" cy="30163"/>
            </a:xfrm>
            <a:custGeom>
              <a:avLst/>
              <a:gdLst>
                <a:gd name="T0" fmla="*/ 2 w 4"/>
                <a:gd name="T1" fmla="*/ 8 h 8"/>
                <a:gd name="T2" fmla="*/ 0 w 4"/>
                <a:gd name="T3" fmla="*/ 6 h 8"/>
                <a:gd name="T4" fmla="*/ 0 w 4"/>
                <a:gd name="T5" fmla="*/ 2 h 8"/>
                <a:gd name="T6" fmla="*/ 2 w 4"/>
                <a:gd name="T7" fmla="*/ 0 h 8"/>
                <a:gd name="T8" fmla="*/ 4 w 4"/>
                <a:gd name="T9" fmla="*/ 2 h 8"/>
                <a:gd name="T10" fmla="*/ 4 w 4"/>
                <a:gd name="T11" fmla="*/ 6 h 8"/>
                <a:gd name="T12" fmla="*/ 2 w 4"/>
                <a:gd name="T13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" h="8">
                  <a:moveTo>
                    <a:pt x="2" y="8"/>
                  </a:moveTo>
                  <a:cubicBezTo>
                    <a:pt x="1" y="8"/>
                    <a:pt x="0" y="7"/>
                    <a:pt x="0" y="6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3" y="0"/>
                    <a:pt x="4" y="1"/>
                    <a:pt x="4" y="2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7"/>
                    <a:pt x="3" y="8"/>
                    <a:pt x="2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5" name="Freeform 1466">
              <a:extLst>
                <a:ext uri="{FF2B5EF4-FFF2-40B4-BE49-F238E27FC236}">
                  <a16:creationId xmlns:a16="http://schemas.microsoft.com/office/drawing/2014/main" id="{4C1D9931-A012-4698-913D-A6F395F85D9D}"/>
                </a:ext>
              </a:extLst>
            </p:cNvPr>
            <p:cNvSpPr>
              <a:spLocks/>
            </p:cNvSpPr>
            <p:nvPr/>
          </p:nvSpPr>
          <p:spPr bwMode="auto">
            <a:xfrm>
              <a:off x="7118350" y="784225"/>
              <a:ext cx="14288" cy="30163"/>
            </a:xfrm>
            <a:custGeom>
              <a:avLst/>
              <a:gdLst>
                <a:gd name="T0" fmla="*/ 2 w 4"/>
                <a:gd name="T1" fmla="*/ 8 h 8"/>
                <a:gd name="T2" fmla="*/ 0 w 4"/>
                <a:gd name="T3" fmla="*/ 6 h 8"/>
                <a:gd name="T4" fmla="*/ 0 w 4"/>
                <a:gd name="T5" fmla="*/ 2 h 8"/>
                <a:gd name="T6" fmla="*/ 2 w 4"/>
                <a:gd name="T7" fmla="*/ 0 h 8"/>
                <a:gd name="T8" fmla="*/ 4 w 4"/>
                <a:gd name="T9" fmla="*/ 2 h 8"/>
                <a:gd name="T10" fmla="*/ 4 w 4"/>
                <a:gd name="T11" fmla="*/ 6 h 8"/>
                <a:gd name="T12" fmla="*/ 2 w 4"/>
                <a:gd name="T13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" h="8">
                  <a:moveTo>
                    <a:pt x="2" y="8"/>
                  </a:moveTo>
                  <a:cubicBezTo>
                    <a:pt x="1" y="8"/>
                    <a:pt x="0" y="7"/>
                    <a:pt x="0" y="6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3" y="0"/>
                    <a:pt x="4" y="1"/>
                    <a:pt x="4" y="2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7"/>
                    <a:pt x="3" y="8"/>
                    <a:pt x="2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6" name="Freeform 1467">
              <a:extLst>
                <a:ext uri="{FF2B5EF4-FFF2-40B4-BE49-F238E27FC236}">
                  <a16:creationId xmlns:a16="http://schemas.microsoft.com/office/drawing/2014/main" id="{D56FD009-9AF8-40CE-9F54-485453249FDE}"/>
                </a:ext>
              </a:extLst>
            </p:cNvPr>
            <p:cNvSpPr>
              <a:spLocks/>
            </p:cNvSpPr>
            <p:nvPr/>
          </p:nvSpPr>
          <p:spPr bwMode="auto">
            <a:xfrm>
              <a:off x="7096125" y="798513"/>
              <a:ext cx="58738" cy="106363"/>
            </a:xfrm>
            <a:custGeom>
              <a:avLst/>
              <a:gdLst>
                <a:gd name="T0" fmla="*/ 8 w 16"/>
                <a:gd name="T1" fmla="*/ 28 h 28"/>
                <a:gd name="T2" fmla="*/ 0 w 16"/>
                <a:gd name="T3" fmla="*/ 20 h 28"/>
                <a:gd name="T4" fmla="*/ 2 w 16"/>
                <a:gd name="T5" fmla="*/ 18 h 28"/>
                <a:gd name="T6" fmla="*/ 4 w 16"/>
                <a:gd name="T7" fmla="*/ 20 h 28"/>
                <a:gd name="T8" fmla="*/ 8 w 16"/>
                <a:gd name="T9" fmla="*/ 24 h 28"/>
                <a:gd name="T10" fmla="*/ 12 w 16"/>
                <a:gd name="T11" fmla="*/ 20 h 28"/>
                <a:gd name="T12" fmla="*/ 8 w 16"/>
                <a:gd name="T13" fmla="*/ 16 h 28"/>
                <a:gd name="T14" fmla="*/ 0 w 16"/>
                <a:gd name="T15" fmla="*/ 8 h 28"/>
                <a:gd name="T16" fmla="*/ 8 w 16"/>
                <a:gd name="T17" fmla="*/ 0 h 28"/>
                <a:gd name="T18" fmla="*/ 16 w 16"/>
                <a:gd name="T19" fmla="*/ 8 h 28"/>
                <a:gd name="T20" fmla="*/ 14 w 16"/>
                <a:gd name="T21" fmla="*/ 10 h 28"/>
                <a:gd name="T22" fmla="*/ 12 w 16"/>
                <a:gd name="T23" fmla="*/ 8 h 28"/>
                <a:gd name="T24" fmla="*/ 8 w 16"/>
                <a:gd name="T25" fmla="*/ 4 h 28"/>
                <a:gd name="T26" fmla="*/ 4 w 16"/>
                <a:gd name="T27" fmla="*/ 8 h 28"/>
                <a:gd name="T28" fmla="*/ 8 w 16"/>
                <a:gd name="T29" fmla="*/ 12 h 28"/>
                <a:gd name="T30" fmla="*/ 16 w 16"/>
                <a:gd name="T31" fmla="*/ 20 h 28"/>
                <a:gd name="T32" fmla="*/ 8 w 16"/>
                <a:gd name="T33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6" h="28">
                  <a:moveTo>
                    <a:pt x="8" y="28"/>
                  </a:moveTo>
                  <a:cubicBezTo>
                    <a:pt x="4" y="28"/>
                    <a:pt x="0" y="24"/>
                    <a:pt x="0" y="20"/>
                  </a:cubicBezTo>
                  <a:cubicBezTo>
                    <a:pt x="0" y="19"/>
                    <a:pt x="1" y="18"/>
                    <a:pt x="2" y="18"/>
                  </a:cubicBezTo>
                  <a:cubicBezTo>
                    <a:pt x="3" y="18"/>
                    <a:pt x="4" y="19"/>
                    <a:pt x="4" y="20"/>
                  </a:cubicBezTo>
                  <a:cubicBezTo>
                    <a:pt x="4" y="22"/>
                    <a:pt x="6" y="24"/>
                    <a:pt x="8" y="24"/>
                  </a:cubicBezTo>
                  <a:cubicBezTo>
                    <a:pt x="10" y="24"/>
                    <a:pt x="12" y="22"/>
                    <a:pt x="12" y="20"/>
                  </a:cubicBezTo>
                  <a:cubicBezTo>
                    <a:pt x="12" y="18"/>
                    <a:pt x="10" y="16"/>
                    <a:pt x="8" y="16"/>
                  </a:cubicBezTo>
                  <a:cubicBezTo>
                    <a:pt x="4" y="16"/>
                    <a:pt x="0" y="12"/>
                    <a:pt x="0" y="8"/>
                  </a:cubicBezTo>
                  <a:cubicBezTo>
                    <a:pt x="0" y="4"/>
                    <a:pt x="4" y="0"/>
                    <a:pt x="8" y="0"/>
                  </a:cubicBezTo>
                  <a:cubicBezTo>
                    <a:pt x="12" y="0"/>
                    <a:pt x="16" y="4"/>
                    <a:pt x="16" y="8"/>
                  </a:cubicBezTo>
                  <a:cubicBezTo>
                    <a:pt x="16" y="9"/>
                    <a:pt x="15" y="10"/>
                    <a:pt x="14" y="10"/>
                  </a:cubicBezTo>
                  <a:cubicBezTo>
                    <a:pt x="13" y="10"/>
                    <a:pt x="12" y="9"/>
                    <a:pt x="12" y="8"/>
                  </a:cubicBezTo>
                  <a:cubicBezTo>
                    <a:pt x="12" y="6"/>
                    <a:pt x="10" y="4"/>
                    <a:pt x="8" y="4"/>
                  </a:cubicBezTo>
                  <a:cubicBezTo>
                    <a:pt x="6" y="4"/>
                    <a:pt x="4" y="6"/>
                    <a:pt x="4" y="8"/>
                  </a:cubicBezTo>
                  <a:cubicBezTo>
                    <a:pt x="4" y="10"/>
                    <a:pt x="6" y="12"/>
                    <a:pt x="8" y="12"/>
                  </a:cubicBezTo>
                  <a:cubicBezTo>
                    <a:pt x="12" y="12"/>
                    <a:pt x="16" y="16"/>
                    <a:pt x="16" y="20"/>
                  </a:cubicBezTo>
                  <a:cubicBezTo>
                    <a:pt x="16" y="24"/>
                    <a:pt x="12" y="28"/>
                    <a:pt x="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7" name="Freeform 1468">
              <a:extLst>
                <a:ext uri="{FF2B5EF4-FFF2-40B4-BE49-F238E27FC236}">
                  <a16:creationId xmlns:a16="http://schemas.microsoft.com/office/drawing/2014/main" id="{FB53C79E-1370-4ACF-8CAC-44DE672E3D8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997700" y="723900"/>
              <a:ext cx="255588" cy="255588"/>
            </a:xfrm>
            <a:custGeom>
              <a:avLst/>
              <a:gdLst>
                <a:gd name="T0" fmla="*/ 34 w 68"/>
                <a:gd name="T1" fmla="*/ 68 h 68"/>
                <a:gd name="T2" fmla="*/ 0 w 68"/>
                <a:gd name="T3" fmla="*/ 34 h 68"/>
                <a:gd name="T4" fmla="*/ 34 w 68"/>
                <a:gd name="T5" fmla="*/ 0 h 68"/>
                <a:gd name="T6" fmla="*/ 68 w 68"/>
                <a:gd name="T7" fmla="*/ 34 h 68"/>
                <a:gd name="T8" fmla="*/ 34 w 68"/>
                <a:gd name="T9" fmla="*/ 68 h 68"/>
                <a:gd name="T10" fmla="*/ 34 w 68"/>
                <a:gd name="T11" fmla="*/ 4 h 68"/>
                <a:gd name="T12" fmla="*/ 4 w 68"/>
                <a:gd name="T13" fmla="*/ 34 h 68"/>
                <a:gd name="T14" fmla="*/ 34 w 68"/>
                <a:gd name="T15" fmla="*/ 64 h 68"/>
                <a:gd name="T16" fmla="*/ 64 w 68"/>
                <a:gd name="T17" fmla="*/ 34 h 68"/>
                <a:gd name="T18" fmla="*/ 34 w 68"/>
                <a:gd name="T19" fmla="*/ 4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8" h="68">
                  <a:moveTo>
                    <a:pt x="34" y="68"/>
                  </a:moveTo>
                  <a:cubicBezTo>
                    <a:pt x="15" y="68"/>
                    <a:pt x="0" y="53"/>
                    <a:pt x="0" y="34"/>
                  </a:cubicBezTo>
                  <a:cubicBezTo>
                    <a:pt x="0" y="15"/>
                    <a:pt x="15" y="0"/>
                    <a:pt x="34" y="0"/>
                  </a:cubicBezTo>
                  <a:cubicBezTo>
                    <a:pt x="53" y="0"/>
                    <a:pt x="68" y="15"/>
                    <a:pt x="68" y="34"/>
                  </a:cubicBezTo>
                  <a:cubicBezTo>
                    <a:pt x="68" y="53"/>
                    <a:pt x="53" y="68"/>
                    <a:pt x="34" y="68"/>
                  </a:cubicBezTo>
                  <a:close/>
                  <a:moveTo>
                    <a:pt x="34" y="4"/>
                  </a:moveTo>
                  <a:cubicBezTo>
                    <a:pt x="17" y="4"/>
                    <a:pt x="4" y="17"/>
                    <a:pt x="4" y="34"/>
                  </a:cubicBezTo>
                  <a:cubicBezTo>
                    <a:pt x="4" y="51"/>
                    <a:pt x="17" y="64"/>
                    <a:pt x="34" y="64"/>
                  </a:cubicBezTo>
                  <a:cubicBezTo>
                    <a:pt x="51" y="64"/>
                    <a:pt x="64" y="51"/>
                    <a:pt x="64" y="34"/>
                  </a:cubicBezTo>
                  <a:cubicBezTo>
                    <a:pt x="64" y="17"/>
                    <a:pt x="51" y="4"/>
                    <a:pt x="34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8" name="Freeform 1469">
              <a:extLst>
                <a:ext uri="{FF2B5EF4-FFF2-40B4-BE49-F238E27FC236}">
                  <a16:creationId xmlns:a16="http://schemas.microsoft.com/office/drawing/2014/main" id="{6402D075-D114-4D80-9B88-BF72D99B8AC0}"/>
                </a:ext>
              </a:extLst>
            </p:cNvPr>
            <p:cNvSpPr>
              <a:spLocks/>
            </p:cNvSpPr>
            <p:nvPr/>
          </p:nvSpPr>
          <p:spPr bwMode="auto">
            <a:xfrm>
              <a:off x="7200900" y="927100"/>
              <a:ext cx="157163" cy="157163"/>
            </a:xfrm>
            <a:custGeom>
              <a:avLst/>
              <a:gdLst>
                <a:gd name="T0" fmla="*/ 40 w 42"/>
                <a:gd name="T1" fmla="*/ 42 h 42"/>
                <a:gd name="T2" fmla="*/ 39 w 42"/>
                <a:gd name="T3" fmla="*/ 41 h 42"/>
                <a:gd name="T4" fmla="*/ 1 w 42"/>
                <a:gd name="T5" fmla="*/ 4 h 42"/>
                <a:gd name="T6" fmla="*/ 1 w 42"/>
                <a:gd name="T7" fmla="*/ 1 h 42"/>
                <a:gd name="T8" fmla="*/ 4 w 42"/>
                <a:gd name="T9" fmla="*/ 1 h 42"/>
                <a:gd name="T10" fmla="*/ 41 w 42"/>
                <a:gd name="T11" fmla="*/ 39 h 42"/>
                <a:gd name="T12" fmla="*/ 41 w 42"/>
                <a:gd name="T13" fmla="*/ 41 h 42"/>
                <a:gd name="T14" fmla="*/ 40 w 42"/>
                <a:gd name="T15" fmla="*/ 42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2" h="42">
                  <a:moveTo>
                    <a:pt x="40" y="42"/>
                  </a:moveTo>
                  <a:cubicBezTo>
                    <a:pt x="39" y="42"/>
                    <a:pt x="39" y="42"/>
                    <a:pt x="39" y="41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0" y="3"/>
                    <a:pt x="0" y="2"/>
                    <a:pt x="1" y="1"/>
                  </a:cubicBezTo>
                  <a:cubicBezTo>
                    <a:pt x="2" y="0"/>
                    <a:pt x="3" y="0"/>
                    <a:pt x="4" y="1"/>
                  </a:cubicBezTo>
                  <a:cubicBezTo>
                    <a:pt x="41" y="39"/>
                    <a:pt x="41" y="39"/>
                    <a:pt x="41" y="39"/>
                  </a:cubicBezTo>
                  <a:cubicBezTo>
                    <a:pt x="42" y="39"/>
                    <a:pt x="42" y="41"/>
                    <a:pt x="41" y="41"/>
                  </a:cubicBezTo>
                  <a:cubicBezTo>
                    <a:pt x="41" y="42"/>
                    <a:pt x="41" y="42"/>
                    <a:pt x="40" y="4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59" name="Group 58">
            <a:extLst>
              <a:ext uri="{FF2B5EF4-FFF2-40B4-BE49-F238E27FC236}">
                <a16:creationId xmlns:a16="http://schemas.microsoft.com/office/drawing/2014/main" id="{7A9091EE-475E-41C0-8C40-6D315B129545}"/>
              </a:ext>
            </a:extLst>
          </p:cNvPr>
          <p:cNvGrpSpPr/>
          <p:nvPr/>
        </p:nvGrpSpPr>
        <p:grpSpPr>
          <a:xfrm>
            <a:off x="6146137" y="1478790"/>
            <a:ext cx="202761" cy="270746"/>
            <a:chOff x="7764463" y="723900"/>
            <a:chExt cx="269875" cy="360363"/>
          </a:xfrm>
          <a:solidFill>
            <a:schemeClr val="bg1"/>
          </a:solidFill>
        </p:grpSpPr>
        <p:sp>
          <p:nvSpPr>
            <p:cNvPr id="60" name="Freeform 1542">
              <a:extLst>
                <a:ext uri="{FF2B5EF4-FFF2-40B4-BE49-F238E27FC236}">
                  <a16:creationId xmlns:a16="http://schemas.microsoft.com/office/drawing/2014/main" id="{732BE3B5-EA15-4D9D-9F3C-3C19B804B26D}"/>
                </a:ext>
              </a:extLst>
            </p:cNvPr>
            <p:cNvSpPr>
              <a:spLocks/>
            </p:cNvSpPr>
            <p:nvPr/>
          </p:nvSpPr>
          <p:spPr bwMode="auto">
            <a:xfrm>
              <a:off x="7820025" y="798513"/>
              <a:ext cx="68263" cy="117475"/>
            </a:xfrm>
            <a:custGeom>
              <a:avLst/>
              <a:gdLst>
                <a:gd name="T0" fmla="*/ 9 w 18"/>
                <a:gd name="T1" fmla="*/ 31 h 31"/>
                <a:gd name="T2" fmla="*/ 0 w 18"/>
                <a:gd name="T3" fmla="*/ 23 h 31"/>
                <a:gd name="T4" fmla="*/ 2 w 18"/>
                <a:gd name="T5" fmla="*/ 21 h 31"/>
                <a:gd name="T6" fmla="*/ 4 w 18"/>
                <a:gd name="T7" fmla="*/ 23 h 31"/>
                <a:gd name="T8" fmla="*/ 9 w 18"/>
                <a:gd name="T9" fmla="*/ 27 h 31"/>
                <a:gd name="T10" fmla="*/ 14 w 18"/>
                <a:gd name="T11" fmla="*/ 23 h 31"/>
                <a:gd name="T12" fmla="*/ 9 w 18"/>
                <a:gd name="T13" fmla="*/ 18 h 31"/>
                <a:gd name="T14" fmla="*/ 0 w 18"/>
                <a:gd name="T15" fmla="*/ 9 h 31"/>
                <a:gd name="T16" fmla="*/ 9 w 18"/>
                <a:gd name="T17" fmla="*/ 0 h 31"/>
                <a:gd name="T18" fmla="*/ 18 w 18"/>
                <a:gd name="T19" fmla="*/ 9 h 31"/>
                <a:gd name="T20" fmla="*/ 16 w 18"/>
                <a:gd name="T21" fmla="*/ 11 h 31"/>
                <a:gd name="T22" fmla="*/ 14 w 18"/>
                <a:gd name="T23" fmla="*/ 9 h 31"/>
                <a:gd name="T24" fmla="*/ 9 w 18"/>
                <a:gd name="T25" fmla="*/ 4 h 31"/>
                <a:gd name="T26" fmla="*/ 4 w 18"/>
                <a:gd name="T27" fmla="*/ 9 h 31"/>
                <a:gd name="T28" fmla="*/ 9 w 18"/>
                <a:gd name="T29" fmla="*/ 14 h 31"/>
                <a:gd name="T30" fmla="*/ 18 w 18"/>
                <a:gd name="T31" fmla="*/ 23 h 31"/>
                <a:gd name="T32" fmla="*/ 9 w 18"/>
                <a:gd name="T33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8" h="31">
                  <a:moveTo>
                    <a:pt x="9" y="31"/>
                  </a:moveTo>
                  <a:cubicBezTo>
                    <a:pt x="4" y="31"/>
                    <a:pt x="0" y="28"/>
                    <a:pt x="0" y="23"/>
                  </a:cubicBezTo>
                  <a:cubicBezTo>
                    <a:pt x="0" y="22"/>
                    <a:pt x="1" y="21"/>
                    <a:pt x="2" y="21"/>
                  </a:cubicBezTo>
                  <a:cubicBezTo>
                    <a:pt x="3" y="21"/>
                    <a:pt x="4" y="22"/>
                    <a:pt x="4" y="23"/>
                  </a:cubicBezTo>
                  <a:cubicBezTo>
                    <a:pt x="4" y="25"/>
                    <a:pt x="6" y="27"/>
                    <a:pt x="9" y="27"/>
                  </a:cubicBezTo>
                  <a:cubicBezTo>
                    <a:pt x="12" y="27"/>
                    <a:pt x="14" y="25"/>
                    <a:pt x="14" y="23"/>
                  </a:cubicBezTo>
                  <a:cubicBezTo>
                    <a:pt x="14" y="20"/>
                    <a:pt x="12" y="18"/>
                    <a:pt x="9" y="18"/>
                  </a:cubicBezTo>
                  <a:cubicBezTo>
                    <a:pt x="4" y="18"/>
                    <a:pt x="0" y="14"/>
                    <a:pt x="0" y="9"/>
                  </a:cubicBezTo>
                  <a:cubicBezTo>
                    <a:pt x="0" y="4"/>
                    <a:pt x="4" y="0"/>
                    <a:pt x="9" y="0"/>
                  </a:cubicBezTo>
                  <a:cubicBezTo>
                    <a:pt x="14" y="0"/>
                    <a:pt x="18" y="4"/>
                    <a:pt x="18" y="9"/>
                  </a:cubicBezTo>
                  <a:cubicBezTo>
                    <a:pt x="18" y="10"/>
                    <a:pt x="17" y="11"/>
                    <a:pt x="16" y="11"/>
                  </a:cubicBezTo>
                  <a:cubicBezTo>
                    <a:pt x="15" y="11"/>
                    <a:pt x="14" y="10"/>
                    <a:pt x="14" y="9"/>
                  </a:cubicBezTo>
                  <a:cubicBezTo>
                    <a:pt x="14" y="7"/>
                    <a:pt x="12" y="4"/>
                    <a:pt x="9" y="4"/>
                  </a:cubicBezTo>
                  <a:cubicBezTo>
                    <a:pt x="6" y="4"/>
                    <a:pt x="4" y="7"/>
                    <a:pt x="4" y="9"/>
                  </a:cubicBezTo>
                  <a:cubicBezTo>
                    <a:pt x="4" y="12"/>
                    <a:pt x="6" y="14"/>
                    <a:pt x="9" y="14"/>
                  </a:cubicBezTo>
                  <a:cubicBezTo>
                    <a:pt x="14" y="14"/>
                    <a:pt x="18" y="18"/>
                    <a:pt x="18" y="23"/>
                  </a:cubicBezTo>
                  <a:cubicBezTo>
                    <a:pt x="18" y="28"/>
                    <a:pt x="14" y="31"/>
                    <a:pt x="9" y="3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61" name="Freeform 1543">
              <a:extLst>
                <a:ext uri="{FF2B5EF4-FFF2-40B4-BE49-F238E27FC236}">
                  <a16:creationId xmlns:a16="http://schemas.microsoft.com/office/drawing/2014/main" id="{1968B51A-B882-42B5-BA6F-5E018FFE8A9B}"/>
                </a:ext>
              </a:extLst>
            </p:cNvPr>
            <p:cNvSpPr>
              <a:spLocks/>
            </p:cNvSpPr>
            <p:nvPr/>
          </p:nvSpPr>
          <p:spPr bwMode="auto">
            <a:xfrm>
              <a:off x="7847013" y="900113"/>
              <a:ext cx="14288" cy="34925"/>
            </a:xfrm>
            <a:custGeom>
              <a:avLst/>
              <a:gdLst>
                <a:gd name="T0" fmla="*/ 2 w 4"/>
                <a:gd name="T1" fmla="*/ 9 h 9"/>
                <a:gd name="T2" fmla="*/ 0 w 4"/>
                <a:gd name="T3" fmla="*/ 7 h 9"/>
                <a:gd name="T4" fmla="*/ 0 w 4"/>
                <a:gd name="T5" fmla="*/ 2 h 9"/>
                <a:gd name="T6" fmla="*/ 2 w 4"/>
                <a:gd name="T7" fmla="*/ 0 h 9"/>
                <a:gd name="T8" fmla="*/ 4 w 4"/>
                <a:gd name="T9" fmla="*/ 2 h 9"/>
                <a:gd name="T10" fmla="*/ 4 w 4"/>
                <a:gd name="T11" fmla="*/ 7 h 9"/>
                <a:gd name="T12" fmla="*/ 2 w 4"/>
                <a:gd name="T13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" h="9">
                  <a:moveTo>
                    <a:pt x="2" y="9"/>
                  </a:moveTo>
                  <a:cubicBezTo>
                    <a:pt x="1" y="9"/>
                    <a:pt x="0" y="8"/>
                    <a:pt x="0" y="7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3" y="0"/>
                    <a:pt x="4" y="1"/>
                    <a:pt x="4" y="2"/>
                  </a:cubicBezTo>
                  <a:cubicBezTo>
                    <a:pt x="4" y="7"/>
                    <a:pt x="4" y="7"/>
                    <a:pt x="4" y="7"/>
                  </a:cubicBezTo>
                  <a:cubicBezTo>
                    <a:pt x="4" y="8"/>
                    <a:pt x="3" y="9"/>
                    <a:pt x="2" y="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62" name="Freeform 1544">
              <a:extLst>
                <a:ext uri="{FF2B5EF4-FFF2-40B4-BE49-F238E27FC236}">
                  <a16:creationId xmlns:a16="http://schemas.microsoft.com/office/drawing/2014/main" id="{415E3EB0-2A58-4574-BF34-BC54F0ACF443}"/>
                </a:ext>
              </a:extLst>
            </p:cNvPr>
            <p:cNvSpPr>
              <a:spLocks/>
            </p:cNvSpPr>
            <p:nvPr/>
          </p:nvSpPr>
          <p:spPr bwMode="auto">
            <a:xfrm>
              <a:off x="7847013" y="784225"/>
              <a:ext cx="14288" cy="30163"/>
            </a:xfrm>
            <a:custGeom>
              <a:avLst/>
              <a:gdLst>
                <a:gd name="T0" fmla="*/ 2 w 4"/>
                <a:gd name="T1" fmla="*/ 8 h 8"/>
                <a:gd name="T2" fmla="*/ 0 w 4"/>
                <a:gd name="T3" fmla="*/ 6 h 8"/>
                <a:gd name="T4" fmla="*/ 0 w 4"/>
                <a:gd name="T5" fmla="*/ 2 h 8"/>
                <a:gd name="T6" fmla="*/ 2 w 4"/>
                <a:gd name="T7" fmla="*/ 0 h 8"/>
                <a:gd name="T8" fmla="*/ 4 w 4"/>
                <a:gd name="T9" fmla="*/ 2 h 8"/>
                <a:gd name="T10" fmla="*/ 4 w 4"/>
                <a:gd name="T11" fmla="*/ 6 h 8"/>
                <a:gd name="T12" fmla="*/ 2 w 4"/>
                <a:gd name="T13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" h="8">
                  <a:moveTo>
                    <a:pt x="2" y="8"/>
                  </a:moveTo>
                  <a:cubicBezTo>
                    <a:pt x="1" y="8"/>
                    <a:pt x="0" y="8"/>
                    <a:pt x="0" y="6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3" y="0"/>
                    <a:pt x="4" y="1"/>
                    <a:pt x="4" y="2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8"/>
                    <a:pt x="3" y="8"/>
                    <a:pt x="2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63" name="Freeform 1545">
              <a:extLst>
                <a:ext uri="{FF2B5EF4-FFF2-40B4-BE49-F238E27FC236}">
                  <a16:creationId xmlns:a16="http://schemas.microsoft.com/office/drawing/2014/main" id="{1245C3C7-2C94-4889-9C5F-7EBA181F01F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764463" y="723900"/>
              <a:ext cx="269875" cy="360363"/>
            </a:xfrm>
            <a:custGeom>
              <a:avLst/>
              <a:gdLst>
                <a:gd name="T0" fmla="*/ 70 w 72"/>
                <a:gd name="T1" fmla="*/ 96 h 96"/>
                <a:gd name="T2" fmla="*/ 2 w 72"/>
                <a:gd name="T3" fmla="*/ 96 h 96"/>
                <a:gd name="T4" fmla="*/ 0 w 72"/>
                <a:gd name="T5" fmla="*/ 94 h 96"/>
                <a:gd name="T6" fmla="*/ 0 w 72"/>
                <a:gd name="T7" fmla="*/ 2 h 96"/>
                <a:gd name="T8" fmla="*/ 2 w 72"/>
                <a:gd name="T9" fmla="*/ 0 h 96"/>
                <a:gd name="T10" fmla="*/ 46 w 72"/>
                <a:gd name="T11" fmla="*/ 0 h 96"/>
                <a:gd name="T12" fmla="*/ 47 w 72"/>
                <a:gd name="T13" fmla="*/ 1 h 96"/>
                <a:gd name="T14" fmla="*/ 71 w 72"/>
                <a:gd name="T15" fmla="*/ 25 h 96"/>
                <a:gd name="T16" fmla="*/ 72 w 72"/>
                <a:gd name="T17" fmla="*/ 26 h 96"/>
                <a:gd name="T18" fmla="*/ 72 w 72"/>
                <a:gd name="T19" fmla="*/ 94 h 96"/>
                <a:gd name="T20" fmla="*/ 70 w 72"/>
                <a:gd name="T21" fmla="*/ 96 h 96"/>
                <a:gd name="T22" fmla="*/ 4 w 72"/>
                <a:gd name="T23" fmla="*/ 92 h 96"/>
                <a:gd name="T24" fmla="*/ 68 w 72"/>
                <a:gd name="T25" fmla="*/ 92 h 96"/>
                <a:gd name="T26" fmla="*/ 68 w 72"/>
                <a:gd name="T27" fmla="*/ 27 h 96"/>
                <a:gd name="T28" fmla="*/ 45 w 72"/>
                <a:gd name="T29" fmla="*/ 4 h 96"/>
                <a:gd name="T30" fmla="*/ 4 w 72"/>
                <a:gd name="T31" fmla="*/ 4 h 96"/>
                <a:gd name="T32" fmla="*/ 4 w 72"/>
                <a:gd name="T33" fmla="*/ 92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2" h="96">
                  <a:moveTo>
                    <a:pt x="70" y="96"/>
                  </a:moveTo>
                  <a:cubicBezTo>
                    <a:pt x="2" y="96"/>
                    <a:pt x="2" y="96"/>
                    <a:pt x="2" y="96"/>
                  </a:cubicBezTo>
                  <a:cubicBezTo>
                    <a:pt x="1" y="96"/>
                    <a:pt x="0" y="95"/>
                    <a:pt x="0" y="94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46" y="0"/>
                    <a:pt x="46" y="0"/>
                    <a:pt x="46" y="0"/>
                  </a:cubicBezTo>
                  <a:cubicBezTo>
                    <a:pt x="47" y="0"/>
                    <a:pt x="47" y="0"/>
                    <a:pt x="47" y="1"/>
                  </a:cubicBezTo>
                  <a:cubicBezTo>
                    <a:pt x="71" y="25"/>
                    <a:pt x="71" y="25"/>
                    <a:pt x="71" y="25"/>
                  </a:cubicBezTo>
                  <a:cubicBezTo>
                    <a:pt x="72" y="25"/>
                    <a:pt x="72" y="25"/>
                    <a:pt x="72" y="26"/>
                  </a:cubicBezTo>
                  <a:cubicBezTo>
                    <a:pt x="72" y="94"/>
                    <a:pt x="72" y="94"/>
                    <a:pt x="72" y="94"/>
                  </a:cubicBezTo>
                  <a:cubicBezTo>
                    <a:pt x="72" y="95"/>
                    <a:pt x="71" y="96"/>
                    <a:pt x="70" y="96"/>
                  </a:cubicBezTo>
                  <a:close/>
                  <a:moveTo>
                    <a:pt x="4" y="92"/>
                  </a:moveTo>
                  <a:cubicBezTo>
                    <a:pt x="68" y="92"/>
                    <a:pt x="68" y="92"/>
                    <a:pt x="68" y="92"/>
                  </a:cubicBezTo>
                  <a:cubicBezTo>
                    <a:pt x="68" y="27"/>
                    <a:pt x="68" y="27"/>
                    <a:pt x="68" y="27"/>
                  </a:cubicBezTo>
                  <a:cubicBezTo>
                    <a:pt x="45" y="4"/>
                    <a:pt x="45" y="4"/>
                    <a:pt x="45" y="4"/>
                  </a:cubicBezTo>
                  <a:cubicBezTo>
                    <a:pt x="4" y="4"/>
                    <a:pt x="4" y="4"/>
                    <a:pt x="4" y="4"/>
                  </a:cubicBezTo>
                  <a:lnTo>
                    <a:pt x="4" y="9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64" name="Freeform 1546">
              <a:extLst>
                <a:ext uri="{FF2B5EF4-FFF2-40B4-BE49-F238E27FC236}">
                  <a16:creationId xmlns:a16="http://schemas.microsoft.com/office/drawing/2014/main" id="{6F32464D-A31C-4E16-BAAF-C6E91E99C53C}"/>
                </a:ext>
              </a:extLst>
            </p:cNvPr>
            <p:cNvSpPr>
              <a:spLocks/>
            </p:cNvSpPr>
            <p:nvPr/>
          </p:nvSpPr>
          <p:spPr bwMode="auto">
            <a:xfrm>
              <a:off x="7929563" y="723900"/>
              <a:ext cx="104775" cy="104775"/>
            </a:xfrm>
            <a:custGeom>
              <a:avLst/>
              <a:gdLst>
                <a:gd name="T0" fmla="*/ 26 w 28"/>
                <a:gd name="T1" fmla="*/ 28 h 28"/>
                <a:gd name="T2" fmla="*/ 2 w 28"/>
                <a:gd name="T3" fmla="*/ 28 h 28"/>
                <a:gd name="T4" fmla="*/ 0 w 28"/>
                <a:gd name="T5" fmla="*/ 26 h 28"/>
                <a:gd name="T6" fmla="*/ 0 w 28"/>
                <a:gd name="T7" fmla="*/ 2 h 28"/>
                <a:gd name="T8" fmla="*/ 2 w 28"/>
                <a:gd name="T9" fmla="*/ 0 h 28"/>
                <a:gd name="T10" fmla="*/ 4 w 28"/>
                <a:gd name="T11" fmla="*/ 2 h 28"/>
                <a:gd name="T12" fmla="*/ 4 w 28"/>
                <a:gd name="T13" fmla="*/ 24 h 28"/>
                <a:gd name="T14" fmla="*/ 26 w 28"/>
                <a:gd name="T15" fmla="*/ 24 h 28"/>
                <a:gd name="T16" fmla="*/ 28 w 28"/>
                <a:gd name="T17" fmla="*/ 26 h 28"/>
                <a:gd name="T18" fmla="*/ 26 w 28"/>
                <a:gd name="T19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8" h="28">
                  <a:moveTo>
                    <a:pt x="26" y="28"/>
                  </a:moveTo>
                  <a:cubicBezTo>
                    <a:pt x="2" y="28"/>
                    <a:pt x="2" y="28"/>
                    <a:pt x="2" y="28"/>
                  </a:cubicBezTo>
                  <a:cubicBezTo>
                    <a:pt x="1" y="28"/>
                    <a:pt x="0" y="27"/>
                    <a:pt x="0" y="26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3" y="0"/>
                    <a:pt x="4" y="1"/>
                    <a:pt x="4" y="2"/>
                  </a:cubicBezTo>
                  <a:cubicBezTo>
                    <a:pt x="4" y="24"/>
                    <a:pt x="4" y="24"/>
                    <a:pt x="4" y="24"/>
                  </a:cubicBezTo>
                  <a:cubicBezTo>
                    <a:pt x="26" y="24"/>
                    <a:pt x="26" y="24"/>
                    <a:pt x="26" y="24"/>
                  </a:cubicBezTo>
                  <a:cubicBezTo>
                    <a:pt x="27" y="24"/>
                    <a:pt x="28" y="25"/>
                    <a:pt x="28" y="26"/>
                  </a:cubicBezTo>
                  <a:cubicBezTo>
                    <a:pt x="28" y="27"/>
                    <a:pt x="27" y="28"/>
                    <a:pt x="26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65" name="Freeform 1547">
              <a:extLst>
                <a:ext uri="{FF2B5EF4-FFF2-40B4-BE49-F238E27FC236}">
                  <a16:creationId xmlns:a16="http://schemas.microsoft.com/office/drawing/2014/main" id="{5303AA47-A738-4FF0-9D65-65A6AC2A0957}"/>
                </a:ext>
              </a:extLst>
            </p:cNvPr>
            <p:cNvSpPr>
              <a:spLocks/>
            </p:cNvSpPr>
            <p:nvPr/>
          </p:nvSpPr>
          <p:spPr bwMode="auto">
            <a:xfrm>
              <a:off x="7808913" y="965200"/>
              <a:ext cx="180975" cy="14288"/>
            </a:xfrm>
            <a:custGeom>
              <a:avLst/>
              <a:gdLst>
                <a:gd name="T0" fmla="*/ 46 w 48"/>
                <a:gd name="T1" fmla="*/ 4 h 4"/>
                <a:gd name="T2" fmla="*/ 2 w 48"/>
                <a:gd name="T3" fmla="*/ 4 h 4"/>
                <a:gd name="T4" fmla="*/ 0 w 48"/>
                <a:gd name="T5" fmla="*/ 2 h 4"/>
                <a:gd name="T6" fmla="*/ 2 w 48"/>
                <a:gd name="T7" fmla="*/ 0 h 4"/>
                <a:gd name="T8" fmla="*/ 46 w 48"/>
                <a:gd name="T9" fmla="*/ 0 h 4"/>
                <a:gd name="T10" fmla="*/ 48 w 48"/>
                <a:gd name="T11" fmla="*/ 2 h 4"/>
                <a:gd name="T12" fmla="*/ 46 w 48"/>
                <a:gd name="T13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8" h="4">
                  <a:moveTo>
                    <a:pt x="46" y="4"/>
                  </a:moveTo>
                  <a:cubicBezTo>
                    <a:pt x="2" y="4"/>
                    <a:pt x="2" y="4"/>
                    <a:pt x="2" y="4"/>
                  </a:cubicBezTo>
                  <a:cubicBezTo>
                    <a:pt x="1" y="4"/>
                    <a:pt x="0" y="3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46" y="0"/>
                    <a:pt x="46" y="0"/>
                    <a:pt x="46" y="0"/>
                  </a:cubicBezTo>
                  <a:cubicBezTo>
                    <a:pt x="47" y="0"/>
                    <a:pt x="48" y="1"/>
                    <a:pt x="48" y="2"/>
                  </a:cubicBezTo>
                  <a:cubicBezTo>
                    <a:pt x="48" y="3"/>
                    <a:pt x="47" y="4"/>
                    <a:pt x="46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66" name="Freeform 1548">
              <a:extLst>
                <a:ext uri="{FF2B5EF4-FFF2-40B4-BE49-F238E27FC236}">
                  <a16:creationId xmlns:a16="http://schemas.microsoft.com/office/drawing/2014/main" id="{008FE1A7-0379-4176-BB5A-5F4D012F940A}"/>
                </a:ext>
              </a:extLst>
            </p:cNvPr>
            <p:cNvSpPr>
              <a:spLocks/>
            </p:cNvSpPr>
            <p:nvPr/>
          </p:nvSpPr>
          <p:spPr bwMode="auto">
            <a:xfrm>
              <a:off x="7899400" y="935038"/>
              <a:ext cx="90488" cy="14288"/>
            </a:xfrm>
            <a:custGeom>
              <a:avLst/>
              <a:gdLst>
                <a:gd name="T0" fmla="*/ 22 w 24"/>
                <a:gd name="T1" fmla="*/ 4 h 4"/>
                <a:gd name="T2" fmla="*/ 2 w 24"/>
                <a:gd name="T3" fmla="*/ 4 h 4"/>
                <a:gd name="T4" fmla="*/ 0 w 24"/>
                <a:gd name="T5" fmla="*/ 2 h 4"/>
                <a:gd name="T6" fmla="*/ 2 w 24"/>
                <a:gd name="T7" fmla="*/ 0 h 4"/>
                <a:gd name="T8" fmla="*/ 22 w 24"/>
                <a:gd name="T9" fmla="*/ 0 h 4"/>
                <a:gd name="T10" fmla="*/ 24 w 24"/>
                <a:gd name="T11" fmla="*/ 2 h 4"/>
                <a:gd name="T12" fmla="*/ 22 w 24"/>
                <a:gd name="T13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4" h="4">
                  <a:moveTo>
                    <a:pt x="22" y="4"/>
                  </a:moveTo>
                  <a:cubicBezTo>
                    <a:pt x="2" y="4"/>
                    <a:pt x="2" y="4"/>
                    <a:pt x="2" y="4"/>
                  </a:cubicBezTo>
                  <a:cubicBezTo>
                    <a:pt x="1" y="4"/>
                    <a:pt x="0" y="3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22" y="0"/>
                    <a:pt x="22" y="0"/>
                    <a:pt x="22" y="0"/>
                  </a:cubicBezTo>
                  <a:cubicBezTo>
                    <a:pt x="23" y="0"/>
                    <a:pt x="24" y="1"/>
                    <a:pt x="24" y="2"/>
                  </a:cubicBezTo>
                  <a:cubicBezTo>
                    <a:pt x="24" y="3"/>
                    <a:pt x="23" y="4"/>
                    <a:pt x="22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67" name="Freeform 1550">
              <a:extLst>
                <a:ext uri="{FF2B5EF4-FFF2-40B4-BE49-F238E27FC236}">
                  <a16:creationId xmlns:a16="http://schemas.microsoft.com/office/drawing/2014/main" id="{F3F6601E-E0F7-4D01-8027-10B9D0831BDA}"/>
                </a:ext>
              </a:extLst>
            </p:cNvPr>
            <p:cNvSpPr>
              <a:spLocks/>
            </p:cNvSpPr>
            <p:nvPr/>
          </p:nvSpPr>
          <p:spPr bwMode="auto">
            <a:xfrm>
              <a:off x="7929563" y="904875"/>
              <a:ext cx="60325" cy="14288"/>
            </a:xfrm>
            <a:custGeom>
              <a:avLst/>
              <a:gdLst>
                <a:gd name="T0" fmla="*/ 14 w 16"/>
                <a:gd name="T1" fmla="*/ 4 h 4"/>
                <a:gd name="T2" fmla="*/ 2 w 16"/>
                <a:gd name="T3" fmla="*/ 4 h 4"/>
                <a:gd name="T4" fmla="*/ 0 w 16"/>
                <a:gd name="T5" fmla="*/ 2 h 4"/>
                <a:gd name="T6" fmla="*/ 2 w 16"/>
                <a:gd name="T7" fmla="*/ 0 h 4"/>
                <a:gd name="T8" fmla="*/ 14 w 16"/>
                <a:gd name="T9" fmla="*/ 0 h 4"/>
                <a:gd name="T10" fmla="*/ 16 w 16"/>
                <a:gd name="T11" fmla="*/ 2 h 4"/>
                <a:gd name="T12" fmla="*/ 14 w 16"/>
                <a:gd name="T13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" h="4">
                  <a:moveTo>
                    <a:pt x="14" y="4"/>
                  </a:moveTo>
                  <a:cubicBezTo>
                    <a:pt x="2" y="4"/>
                    <a:pt x="2" y="4"/>
                    <a:pt x="2" y="4"/>
                  </a:cubicBezTo>
                  <a:cubicBezTo>
                    <a:pt x="1" y="4"/>
                    <a:pt x="0" y="3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15" y="0"/>
                    <a:pt x="16" y="1"/>
                    <a:pt x="16" y="2"/>
                  </a:cubicBezTo>
                  <a:cubicBezTo>
                    <a:pt x="16" y="3"/>
                    <a:pt x="15" y="4"/>
                    <a:pt x="14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68" name="Freeform 1551">
              <a:extLst>
                <a:ext uri="{FF2B5EF4-FFF2-40B4-BE49-F238E27FC236}">
                  <a16:creationId xmlns:a16="http://schemas.microsoft.com/office/drawing/2014/main" id="{AFF4DE41-E160-4C48-A913-A259B14662F2}"/>
                </a:ext>
              </a:extLst>
            </p:cNvPr>
            <p:cNvSpPr>
              <a:spLocks/>
            </p:cNvSpPr>
            <p:nvPr/>
          </p:nvSpPr>
          <p:spPr bwMode="auto">
            <a:xfrm>
              <a:off x="7929563" y="874713"/>
              <a:ext cx="60325" cy="14288"/>
            </a:xfrm>
            <a:custGeom>
              <a:avLst/>
              <a:gdLst>
                <a:gd name="T0" fmla="*/ 14 w 16"/>
                <a:gd name="T1" fmla="*/ 4 h 4"/>
                <a:gd name="T2" fmla="*/ 2 w 16"/>
                <a:gd name="T3" fmla="*/ 4 h 4"/>
                <a:gd name="T4" fmla="*/ 0 w 16"/>
                <a:gd name="T5" fmla="*/ 2 h 4"/>
                <a:gd name="T6" fmla="*/ 2 w 16"/>
                <a:gd name="T7" fmla="*/ 0 h 4"/>
                <a:gd name="T8" fmla="*/ 14 w 16"/>
                <a:gd name="T9" fmla="*/ 0 h 4"/>
                <a:gd name="T10" fmla="*/ 16 w 16"/>
                <a:gd name="T11" fmla="*/ 2 h 4"/>
                <a:gd name="T12" fmla="*/ 14 w 16"/>
                <a:gd name="T13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" h="4">
                  <a:moveTo>
                    <a:pt x="14" y="4"/>
                  </a:moveTo>
                  <a:cubicBezTo>
                    <a:pt x="2" y="4"/>
                    <a:pt x="2" y="4"/>
                    <a:pt x="2" y="4"/>
                  </a:cubicBezTo>
                  <a:cubicBezTo>
                    <a:pt x="1" y="4"/>
                    <a:pt x="0" y="3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15" y="0"/>
                    <a:pt x="16" y="1"/>
                    <a:pt x="16" y="2"/>
                  </a:cubicBezTo>
                  <a:cubicBezTo>
                    <a:pt x="16" y="3"/>
                    <a:pt x="15" y="4"/>
                    <a:pt x="14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69" name="Freeform 1552">
              <a:extLst>
                <a:ext uri="{FF2B5EF4-FFF2-40B4-BE49-F238E27FC236}">
                  <a16:creationId xmlns:a16="http://schemas.microsoft.com/office/drawing/2014/main" id="{1F2B0A49-FF4B-4443-BF0F-87BFD018788C}"/>
                </a:ext>
              </a:extLst>
            </p:cNvPr>
            <p:cNvSpPr>
              <a:spLocks/>
            </p:cNvSpPr>
            <p:nvPr/>
          </p:nvSpPr>
          <p:spPr bwMode="auto">
            <a:xfrm>
              <a:off x="7808913" y="993775"/>
              <a:ext cx="180975" cy="15875"/>
            </a:xfrm>
            <a:custGeom>
              <a:avLst/>
              <a:gdLst>
                <a:gd name="T0" fmla="*/ 46 w 48"/>
                <a:gd name="T1" fmla="*/ 4 h 4"/>
                <a:gd name="T2" fmla="*/ 2 w 48"/>
                <a:gd name="T3" fmla="*/ 4 h 4"/>
                <a:gd name="T4" fmla="*/ 0 w 48"/>
                <a:gd name="T5" fmla="*/ 2 h 4"/>
                <a:gd name="T6" fmla="*/ 2 w 48"/>
                <a:gd name="T7" fmla="*/ 0 h 4"/>
                <a:gd name="T8" fmla="*/ 46 w 48"/>
                <a:gd name="T9" fmla="*/ 0 h 4"/>
                <a:gd name="T10" fmla="*/ 48 w 48"/>
                <a:gd name="T11" fmla="*/ 2 h 4"/>
                <a:gd name="T12" fmla="*/ 46 w 48"/>
                <a:gd name="T13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8" h="4">
                  <a:moveTo>
                    <a:pt x="46" y="4"/>
                  </a:moveTo>
                  <a:cubicBezTo>
                    <a:pt x="2" y="4"/>
                    <a:pt x="2" y="4"/>
                    <a:pt x="2" y="4"/>
                  </a:cubicBezTo>
                  <a:cubicBezTo>
                    <a:pt x="1" y="4"/>
                    <a:pt x="0" y="3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46" y="0"/>
                    <a:pt x="46" y="0"/>
                    <a:pt x="46" y="0"/>
                  </a:cubicBezTo>
                  <a:cubicBezTo>
                    <a:pt x="47" y="0"/>
                    <a:pt x="48" y="1"/>
                    <a:pt x="48" y="2"/>
                  </a:cubicBezTo>
                  <a:cubicBezTo>
                    <a:pt x="48" y="3"/>
                    <a:pt x="47" y="4"/>
                    <a:pt x="46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70" name="Freeform 1553">
              <a:extLst>
                <a:ext uri="{FF2B5EF4-FFF2-40B4-BE49-F238E27FC236}">
                  <a16:creationId xmlns:a16="http://schemas.microsoft.com/office/drawing/2014/main" id="{B69B47F0-71BD-44F1-A8FB-E847EFE11DE5}"/>
                </a:ext>
              </a:extLst>
            </p:cNvPr>
            <p:cNvSpPr>
              <a:spLocks/>
            </p:cNvSpPr>
            <p:nvPr/>
          </p:nvSpPr>
          <p:spPr bwMode="auto">
            <a:xfrm>
              <a:off x="7808913" y="1023938"/>
              <a:ext cx="180975" cy="15875"/>
            </a:xfrm>
            <a:custGeom>
              <a:avLst/>
              <a:gdLst>
                <a:gd name="T0" fmla="*/ 46 w 48"/>
                <a:gd name="T1" fmla="*/ 4 h 4"/>
                <a:gd name="T2" fmla="*/ 2 w 48"/>
                <a:gd name="T3" fmla="*/ 4 h 4"/>
                <a:gd name="T4" fmla="*/ 0 w 48"/>
                <a:gd name="T5" fmla="*/ 2 h 4"/>
                <a:gd name="T6" fmla="*/ 2 w 48"/>
                <a:gd name="T7" fmla="*/ 0 h 4"/>
                <a:gd name="T8" fmla="*/ 46 w 48"/>
                <a:gd name="T9" fmla="*/ 0 h 4"/>
                <a:gd name="T10" fmla="*/ 48 w 48"/>
                <a:gd name="T11" fmla="*/ 2 h 4"/>
                <a:gd name="T12" fmla="*/ 46 w 48"/>
                <a:gd name="T13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8" h="4">
                  <a:moveTo>
                    <a:pt x="46" y="4"/>
                  </a:moveTo>
                  <a:cubicBezTo>
                    <a:pt x="2" y="4"/>
                    <a:pt x="2" y="4"/>
                    <a:pt x="2" y="4"/>
                  </a:cubicBezTo>
                  <a:cubicBezTo>
                    <a:pt x="1" y="4"/>
                    <a:pt x="0" y="3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46" y="0"/>
                    <a:pt x="46" y="0"/>
                    <a:pt x="46" y="0"/>
                  </a:cubicBezTo>
                  <a:cubicBezTo>
                    <a:pt x="47" y="0"/>
                    <a:pt x="48" y="1"/>
                    <a:pt x="48" y="2"/>
                  </a:cubicBezTo>
                  <a:cubicBezTo>
                    <a:pt x="48" y="3"/>
                    <a:pt x="47" y="4"/>
                    <a:pt x="46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71" name="Group 70">
            <a:extLst>
              <a:ext uri="{FF2B5EF4-FFF2-40B4-BE49-F238E27FC236}">
                <a16:creationId xmlns:a16="http://schemas.microsoft.com/office/drawing/2014/main" id="{526C264E-D507-4C76-97AB-F0790955CBEB}"/>
              </a:ext>
            </a:extLst>
          </p:cNvPr>
          <p:cNvGrpSpPr/>
          <p:nvPr/>
        </p:nvGrpSpPr>
        <p:grpSpPr>
          <a:xfrm>
            <a:off x="6117511" y="2654824"/>
            <a:ext cx="260012" cy="260013"/>
            <a:chOff x="5554663" y="723900"/>
            <a:chExt cx="346075" cy="346076"/>
          </a:xfrm>
          <a:solidFill>
            <a:schemeClr val="bg1"/>
          </a:solidFill>
        </p:grpSpPr>
        <p:sp>
          <p:nvSpPr>
            <p:cNvPr id="72" name="Freeform 1743">
              <a:extLst>
                <a:ext uri="{FF2B5EF4-FFF2-40B4-BE49-F238E27FC236}">
                  <a16:creationId xmlns:a16="http://schemas.microsoft.com/office/drawing/2014/main" id="{576DF29F-841E-4FE8-BDFA-5FA7FCBCB52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595938" y="765175"/>
              <a:ext cx="263525" cy="263525"/>
            </a:xfrm>
            <a:custGeom>
              <a:avLst/>
              <a:gdLst>
                <a:gd name="T0" fmla="*/ 35 w 70"/>
                <a:gd name="T1" fmla="*/ 70 h 70"/>
                <a:gd name="T2" fmla="*/ 0 w 70"/>
                <a:gd name="T3" fmla="*/ 35 h 70"/>
                <a:gd name="T4" fmla="*/ 35 w 70"/>
                <a:gd name="T5" fmla="*/ 0 h 70"/>
                <a:gd name="T6" fmla="*/ 70 w 70"/>
                <a:gd name="T7" fmla="*/ 35 h 70"/>
                <a:gd name="T8" fmla="*/ 35 w 70"/>
                <a:gd name="T9" fmla="*/ 70 h 70"/>
                <a:gd name="T10" fmla="*/ 35 w 70"/>
                <a:gd name="T11" fmla="*/ 4 h 70"/>
                <a:gd name="T12" fmla="*/ 4 w 70"/>
                <a:gd name="T13" fmla="*/ 35 h 70"/>
                <a:gd name="T14" fmla="*/ 35 w 70"/>
                <a:gd name="T15" fmla="*/ 66 h 70"/>
                <a:gd name="T16" fmla="*/ 66 w 70"/>
                <a:gd name="T17" fmla="*/ 35 h 70"/>
                <a:gd name="T18" fmla="*/ 35 w 70"/>
                <a:gd name="T19" fmla="*/ 4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0" h="70">
                  <a:moveTo>
                    <a:pt x="35" y="70"/>
                  </a:moveTo>
                  <a:cubicBezTo>
                    <a:pt x="16" y="70"/>
                    <a:pt x="0" y="54"/>
                    <a:pt x="0" y="35"/>
                  </a:cubicBezTo>
                  <a:cubicBezTo>
                    <a:pt x="0" y="16"/>
                    <a:pt x="16" y="0"/>
                    <a:pt x="35" y="0"/>
                  </a:cubicBezTo>
                  <a:cubicBezTo>
                    <a:pt x="54" y="0"/>
                    <a:pt x="70" y="16"/>
                    <a:pt x="70" y="35"/>
                  </a:cubicBezTo>
                  <a:cubicBezTo>
                    <a:pt x="70" y="54"/>
                    <a:pt x="54" y="70"/>
                    <a:pt x="35" y="70"/>
                  </a:cubicBezTo>
                  <a:close/>
                  <a:moveTo>
                    <a:pt x="35" y="4"/>
                  </a:moveTo>
                  <a:cubicBezTo>
                    <a:pt x="18" y="4"/>
                    <a:pt x="4" y="18"/>
                    <a:pt x="4" y="35"/>
                  </a:cubicBezTo>
                  <a:cubicBezTo>
                    <a:pt x="4" y="52"/>
                    <a:pt x="18" y="66"/>
                    <a:pt x="35" y="66"/>
                  </a:cubicBezTo>
                  <a:cubicBezTo>
                    <a:pt x="52" y="66"/>
                    <a:pt x="66" y="52"/>
                    <a:pt x="66" y="35"/>
                  </a:cubicBezTo>
                  <a:cubicBezTo>
                    <a:pt x="66" y="18"/>
                    <a:pt x="52" y="4"/>
                    <a:pt x="35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73" name="Freeform 1744">
              <a:extLst>
                <a:ext uri="{FF2B5EF4-FFF2-40B4-BE49-F238E27FC236}">
                  <a16:creationId xmlns:a16="http://schemas.microsoft.com/office/drawing/2014/main" id="{07EF074D-45F5-4672-A036-F5749604275F}"/>
                </a:ext>
              </a:extLst>
            </p:cNvPr>
            <p:cNvSpPr>
              <a:spLocks/>
            </p:cNvSpPr>
            <p:nvPr/>
          </p:nvSpPr>
          <p:spPr bwMode="auto">
            <a:xfrm>
              <a:off x="5719763" y="723900"/>
              <a:ext cx="15875" cy="87313"/>
            </a:xfrm>
            <a:custGeom>
              <a:avLst/>
              <a:gdLst>
                <a:gd name="T0" fmla="*/ 2 w 4"/>
                <a:gd name="T1" fmla="*/ 23 h 23"/>
                <a:gd name="T2" fmla="*/ 0 w 4"/>
                <a:gd name="T3" fmla="*/ 21 h 23"/>
                <a:gd name="T4" fmla="*/ 0 w 4"/>
                <a:gd name="T5" fmla="*/ 2 h 23"/>
                <a:gd name="T6" fmla="*/ 2 w 4"/>
                <a:gd name="T7" fmla="*/ 0 h 23"/>
                <a:gd name="T8" fmla="*/ 4 w 4"/>
                <a:gd name="T9" fmla="*/ 2 h 23"/>
                <a:gd name="T10" fmla="*/ 4 w 4"/>
                <a:gd name="T11" fmla="*/ 21 h 23"/>
                <a:gd name="T12" fmla="*/ 2 w 4"/>
                <a:gd name="T13" fmla="*/ 23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" h="23">
                  <a:moveTo>
                    <a:pt x="2" y="23"/>
                  </a:moveTo>
                  <a:cubicBezTo>
                    <a:pt x="1" y="23"/>
                    <a:pt x="0" y="22"/>
                    <a:pt x="0" y="2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3" y="0"/>
                    <a:pt x="4" y="1"/>
                    <a:pt x="4" y="2"/>
                  </a:cubicBezTo>
                  <a:cubicBezTo>
                    <a:pt x="4" y="21"/>
                    <a:pt x="4" y="21"/>
                    <a:pt x="4" y="21"/>
                  </a:cubicBezTo>
                  <a:cubicBezTo>
                    <a:pt x="4" y="22"/>
                    <a:pt x="3" y="23"/>
                    <a:pt x="2" y="2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74" name="Freeform 1745">
              <a:extLst>
                <a:ext uri="{FF2B5EF4-FFF2-40B4-BE49-F238E27FC236}">
                  <a16:creationId xmlns:a16="http://schemas.microsoft.com/office/drawing/2014/main" id="{EFFEEECE-F0BB-4BAF-BAE4-984EAD770880}"/>
                </a:ext>
              </a:extLst>
            </p:cNvPr>
            <p:cNvSpPr>
              <a:spLocks/>
            </p:cNvSpPr>
            <p:nvPr/>
          </p:nvSpPr>
          <p:spPr bwMode="auto">
            <a:xfrm>
              <a:off x="5554663" y="889000"/>
              <a:ext cx="87313" cy="15875"/>
            </a:xfrm>
            <a:custGeom>
              <a:avLst/>
              <a:gdLst>
                <a:gd name="T0" fmla="*/ 21 w 23"/>
                <a:gd name="T1" fmla="*/ 4 h 4"/>
                <a:gd name="T2" fmla="*/ 2 w 23"/>
                <a:gd name="T3" fmla="*/ 4 h 4"/>
                <a:gd name="T4" fmla="*/ 0 w 23"/>
                <a:gd name="T5" fmla="*/ 2 h 4"/>
                <a:gd name="T6" fmla="*/ 2 w 23"/>
                <a:gd name="T7" fmla="*/ 0 h 4"/>
                <a:gd name="T8" fmla="*/ 21 w 23"/>
                <a:gd name="T9" fmla="*/ 0 h 4"/>
                <a:gd name="T10" fmla="*/ 23 w 23"/>
                <a:gd name="T11" fmla="*/ 2 h 4"/>
                <a:gd name="T12" fmla="*/ 21 w 23"/>
                <a:gd name="T13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3" h="4">
                  <a:moveTo>
                    <a:pt x="21" y="4"/>
                  </a:moveTo>
                  <a:cubicBezTo>
                    <a:pt x="2" y="4"/>
                    <a:pt x="2" y="4"/>
                    <a:pt x="2" y="4"/>
                  </a:cubicBezTo>
                  <a:cubicBezTo>
                    <a:pt x="1" y="4"/>
                    <a:pt x="0" y="3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21" y="0"/>
                    <a:pt x="21" y="0"/>
                    <a:pt x="21" y="0"/>
                  </a:cubicBezTo>
                  <a:cubicBezTo>
                    <a:pt x="22" y="0"/>
                    <a:pt x="23" y="1"/>
                    <a:pt x="23" y="2"/>
                  </a:cubicBezTo>
                  <a:cubicBezTo>
                    <a:pt x="23" y="3"/>
                    <a:pt x="22" y="4"/>
                    <a:pt x="21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75" name="Freeform 1746">
              <a:extLst>
                <a:ext uri="{FF2B5EF4-FFF2-40B4-BE49-F238E27FC236}">
                  <a16:creationId xmlns:a16="http://schemas.microsoft.com/office/drawing/2014/main" id="{2409C88D-9D98-4C0F-ABFD-861182424C19}"/>
                </a:ext>
              </a:extLst>
            </p:cNvPr>
            <p:cNvSpPr>
              <a:spLocks/>
            </p:cNvSpPr>
            <p:nvPr/>
          </p:nvSpPr>
          <p:spPr bwMode="auto">
            <a:xfrm>
              <a:off x="5719763" y="982663"/>
              <a:ext cx="15875" cy="87313"/>
            </a:xfrm>
            <a:custGeom>
              <a:avLst/>
              <a:gdLst>
                <a:gd name="T0" fmla="*/ 2 w 4"/>
                <a:gd name="T1" fmla="*/ 23 h 23"/>
                <a:gd name="T2" fmla="*/ 0 w 4"/>
                <a:gd name="T3" fmla="*/ 21 h 23"/>
                <a:gd name="T4" fmla="*/ 0 w 4"/>
                <a:gd name="T5" fmla="*/ 2 h 23"/>
                <a:gd name="T6" fmla="*/ 2 w 4"/>
                <a:gd name="T7" fmla="*/ 0 h 23"/>
                <a:gd name="T8" fmla="*/ 4 w 4"/>
                <a:gd name="T9" fmla="*/ 2 h 23"/>
                <a:gd name="T10" fmla="*/ 4 w 4"/>
                <a:gd name="T11" fmla="*/ 21 h 23"/>
                <a:gd name="T12" fmla="*/ 2 w 4"/>
                <a:gd name="T13" fmla="*/ 23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" h="23">
                  <a:moveTo>
                    <a:pt x="2" y="23"/>
                  </a:moveTo>
                  <a:cubicBezTo>
                    <a:pt x="1" y="23"/>
                    <a:pt x="0" y="22"/>
                    <a:pt x="0" y="2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3" y="0"/>
                    <a:pt x="4" y="1"/>
                    <a:pt x="4" y="2"/>
                  </a:cubicBezTo>
                  <a:cubicBezTo>
                    <a:pt x="4" y="21"/>
                    <a:pt x="4" y="21"/>
                    <a:pt x="4" y="21"/>
                  </a:cubicBezTo>
                  <a:cubicBezTo>
                    <a:pt x="4" y="22"/>
                    <a:pt x="3" y="23"/>
                    <a:pt x="2" y="2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76" name="Freeform 1747">
              <a:extLst>
                <a:ext uri="{FF2B5EF4-FFF2-40B4-BE49-F238E27FC236}">
                  <a16:creationId xmlns:a16="http://schemas.microsoft.com/office/drawing/2014/main" id="{38A782A1-23FC-48DF-921E-B1CCB3C6C336}"/>
                </a:ext>
              </a:extLst>
            </p:cNvPr>
            <p:cNvSpPr>
              <a:spLocks/>
            </p:cNvSpPr>
            <p:nvPr/>
          </p:nvSpPr>
          <p:spPr bwMode="auto">
            <a:xfrm>
              <a:off x="5815013" y="889000"/>
              <a:ext cx="85725" cy="15875"/>
            </a:xfrm>
            <a:custGeom>
              <a:avLst/>
              <a:gdLst>
                <a:gd name="T0" fmla="*/ 21 w 23"/>
                <a:gd name="T1" fmla="*/ 4 h 4"/>
                <a:gd name="T2" fmla="*/ 2 w 23"/>
                <a:gd name="T3" fmla="*/ 4 h 4"/>
                <a:gd name="T4" fmla="*/ 0 w 23"/>
                <a:gd name="T5" fmla="*/ 2 h 4"/>
                <a:gd name="T6" fmla="*/ 2 w 23"/>
                <a:gd name="T7" fmla="*/ 0 h 4"/>
                <a:gd name="T8" fmla="*/ 21 w 23"/>
                <a:gd name="T9" fmla="*/ 0 h 4"/>
                <a:gd name="T10" fmla="*/ 23 w 23"/>
                <a:gd name="T11" fmla="*/ 2 h 4"/>
                <a:gd name="T12" fmla="*/ 21 w 23"/>
                <a:gd name="T13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3" h="4">
                  <a:moveTo>
                    <a:pt x="21" y="4"/>
                  </a:moveTo>
                  <a:cubicBezTo>
                    <a:pt x="2" y="4"/>
                    <a:pt x="2" y="4"/>
                    <a:pt x="2" y="4"/>
                  </a:cubicBezTo>
                  <a:cubicBezTo>
                    <a:pt x="1" y="4"/>
                    <a:pt x="0" y="3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21" y="0"/>
                    <a:pt x="21" y="0"/>
                    <a:pt x="21" y="0"/>
                  </a:cubicBezTo>
                  <a:cubicBezTo>
                    <a:pt x="22" y="0"/>
                    <a:pt x="23" y="1"/>
                    <a:pt x="23" y="2"/>
                  </a:cubicBezTo>
                  <a:cubicBezTo>
                    <a:pt x="23" y="3"/>
                    <a:pt x="22" y="4"/>
                    <a:pt x="21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77" name="Freeform 1748">
              <a:extLst>
                <a:ext uri="{FF2B5EF4-FFF2-40B4-BE49-F238E27FC236}">
                  <a16:creationId xmlns:a16="http://schemas.microsoft.com/office/drawing/2014/main" id="{39D25D9F-A6A9-4FF4-9B58-BF8CFBA332CD}"/>
                </a:ext>
              </a:extLst>
            </p:cNvPr>
            <p:cNvSpPr>
              <a:spLocks/>
            </p:cNvSpPr>
            <p:nvPr/>
          </p:nvSpPr>
          <p:spPr bwMode="auto">
            <a:xfrm>
              <a:off x="5697538" y="844550"/>
              <a:ext cx="60325" cy="104775"/>
            </a:xfrm>
            <a:custGeom>
              <a:avLst/>
              <a:gdLst>
                <a:gd name="T0" fmla="*/ 8 w 16"/>
                <a:gd name="T1" fmla="*/ 28 h 28"/>
                <a:gd name="T2" fmla="*/ 0 w 16"/>
                <a:gd name="T3" fmla="*/ 20 h 28"/>
                <a:gd name="T4" fmla="*/ 2 w 16"/>
                <a:gd name="T5" fmla="*/ 18 h 28"/>
                <a:gd name="T6" fmla="*/ 4 w 16"/>
                <a:gd name="T7" fmla="*/ 20 h 28"/>
                <a:gd name="T8" fmla="*/ 8 w 16"/>
                <a:gd name="T9" fmla="*/ 24 h 28"/>
                <a:gd name="T10" fmla="*/ 12 w 16"/>
                <a:gd name="T11" fmla="*/ 20 h 28"/>
                <a:gd name="T12" fmla="*/ 8 w 16"/>
                <a:gd name="T13" fmla="*/ 16 h 28"/>
                <a:gd name="T14" fmla="*/ 0 w 16"/>
                <a:gd name="T15" fmla="*/ 8 h 28"/>
                <a:gd name="T16" fmla="*/ 8 w 16"/>
                <a:gd name="T17" fmla="*/ 0 h 28"/>
                <a:gd name="T18" fmla="*/ 16 w 16"/>
                <a:gd name="T19" fmla="*/ 8 h 28"/>
                <a:gd name="T20" fmla="*/ 14 w 16"/>
                <a:gd name="T21" fmla="*/ 10 h 28"/>
                <a:gd name="T22" fmla="*/ 12 w 16"/>
                <a:gd name="T23" fmla="*/ 8 h 28"/>
                <a:gd name="T24" fmla="*/ 8 w 16"/>
                <a:gd name="T25" fmla="*/ 4 h 28"/>
                <a:gd name="T26" fmla="*/ 4 w 16"/>
                <a:gd name="T27" fmla="*/ 8 h 28"/>
                <a:gd name="T28" fmla="*/ 8 w 16"/>
                <a:gd name="T29" fmla="*/ 12 h 28"/>
                <a:gd name="T30" fmla="*/ 16 w 16"/>
                <a:gd name="T31" fmla="*/ 20 h 28"/>
                <a:gd name="T32" fmla="*/ 8 w 16"/>
                <a:gd name="T33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6" h="28">
                  <a:moveTo>
                    <a:pt x="8" y="28"/>
                  </a:moveTo>
                  <a:cubicBezTo>
                    <a:pt x="4" y="28"/>
                    <a:pt x="0" y="24"/>
                    <a:pt x="0" y="20"/>
                  </a:cubicBezTo>
                  <a:cubicBezTo>
                    <a:pt x="0" y="19"/>
                    <a:pt x="1" y="18"/>
                    <a:pt x="2" y="18"/>
                  </a:cubicBezTo>
                  <a:cubicBezTo>
                    <a:pt x="3" y="18"/>
                    <a:pt x="4" y="19"/>
                    <a:pt x="4" y="20"/>
                  </a:cubicBezTo>
                  <a:cubicBezTo>
                    <a:pt x="4" y="22"/>
                    <a:pt x="6" y="24"/>
                    <a:pt x="8" y="24"/>
                  </a:cubicBezTo>
                  <a:cubicBezTo>
                    <a:pt x="10" y="24"/>
                    <a:pt x="12" y="22"/>
                    <a:pt x="12" y="20"/>
                  </a:cubicBezTo>
                  <a:cubicBezTo>
                    <a:pt x="12" y="18"/>
                    <a:pt x="10" y="16"/>
                    <a:pt x="8" y="16"/>
                  </a:cubicBezTo>
                  <a:cubicBezTo>
                    <a:pt x="4" y="16"/>
                    <a:pt x="0" y="12"/>
                    <a:pt x="0" y="8"/>
                  </a:cubicBezTo>
                  <a:cubicBezTo>
                    <a:pt x="0" y="3"/>
                    <a:pt x="4" y="0"/>
                    <a:pt x="8" y="0"/>
                  </a:cubicBezTo>
                  <a:cubicBezTo>
                    <a:pt x="12" y="0"/>
                    <a:pt x="16" y="3"/>
                    <a:pt x="16" y="8"/>
                  </a:cubicBezTo>
                  <a:cubicBezTo>
                    <a:pt x="16" y="9"/>
                    <a:pt x="15" y="10"/>
                    <a:pt x="14" y="10"/>
                  </a:cubicBezTo>
                  <a:cubicBezTo>
                    <a:pt x="13" y="10"/>
                    <a:pt x="12" y="9"/>
                    <a:pt x="12" y="8"/>
                  </a:cubicBezTo>
                  <a:cubicBezTo>
                    <a:pt x="12" y="5"/>
                    <a:pt x="10" y="4"/>
                    <a:pt x="8" y="4"/>
                  </a:cubicBezTo>
                  <a:cubicBezTo>
                    <a:pt x="6" y="4"/>
                    <a:pt x="4" y="5"/>
                    <a:pt x="4" y="8"/>
                  </a:cubicBezTo>
                  <a:cubicBezTo>
                    <a:pt x="4" y="10"/>
                    <a:pt x="6" y="12"/>
                    <a:pt x="8" y="12"/>
                  </a:cubicBezTo>
                  <a:cubicBezTo>
                    <a:pt x="12" y="12"/>
                    <a:pt x="16" y="15"/>
                    <a:pt x="16" y="20"/>
                  </a:cubicBezTo>
                  <a:cubicBezTo>
                    <a:pt x="16" y="24"/>
                    <a:pt x="12" y="28"/>
                    <a:pt x="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78" name="Freeform 1749">
              <a:extLst>
                <a:ext uri="{FF2B5EF4-FFF2-40B4-BE49-F238E27FC236}">
                  <a16:creationId xmlns:a16="http://schemas.microsoft.com/office/drawing/2014/main" id="{37088D4D-80C9-4EF6-B73A-20B79615D8E9}"/>
                </a:ext>
              </a:extLst>
            </p:cNvPr>
            <p:cNvSpPr>
              <a:spLocks/>
            </p:cNvSpPr>
            <p:nvPr/>
          </p:nvSpPr>
          <p:spPr bwMode="auto">
            <a:xfrm>
              <a:off x="5719763" y="828675"/>
              <a:ext cx="15875" cy="136525"/>
            </a:xfrm>
            <a:custGeom>
              <a:avLst/>
              <a:gdLst>
                <a:gd name="T0" fmla="*/ 2 w 4"/>
                <a:gd name="T1" fmla="*/ 36 h 36"/>
                <a:gd name="T2" fmla="*/ 0 w 4"/>
                <a:gd name="T3" fmla="*/ 34 h 36"/>
                <a:gd name="T4" fmla="*/ 0 w 4"/>
                <a:gd name="T5" fmla="*/ 2 h 36"/>
                <a:gd name="T6" fmla="*/ 2 w 4"/>
                <a:gd name="T7" fmla="*/ 0 h 36"/>
                <a:gd name="T8" fmla="*/ 4 w 4"/>
                <a:gd name="T9" fmla="*/ 2 h 36"/>
                <a:gd name="T10" fmla="*/ 4 w 4"/>
                <a:gd name="T11" fmla="*/ 34 h 36"/>
                <a:gd name="T12" fmla="*/ 2 w 4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" h="36">
                  <a:moveTo>
                    <a:pt x="2" y="36"/>
                  </a:moveTo>
                  <a:cubicBezTo>
                    <a:pt x="1" y="36"/>
                    <a:pt x="0" y="35"/>
                    <a:pt x="0" y="34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3" y="0"/>
                    <a:pt x="4" y="1"/>
                    <a:pt x="4" y="2"/>
                  </a:cubicBezTo>
                  <a:cubicBezTo>
                    <a:pt x="4" y="34"/>
                    <a:pt x="4" y="34"/>
                    <a:pt x="4" y="34"/>
                  </a:cubicBezTo>
                  <a:cubicBezTo>
                    <a:pt x="4" y="35"/>
                    <a:pt x="3" y="36"/>
                    <a:pt x="2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79" name="Rectangle 78">
            <a:extLst>
              <a:ext uri="{FF2B5EF4-FFF2-40B4-BE49-F238E27FC236}">
                <a16:creationId xmlns:a16="http://schemas.microsoft.com/office/drawing/2014/main" id="{DFBEC48F-ACC6-4FB9-996B-398AFC202326}"/>
              </a:ext>
            </a:extLst>
          </p:cNvPr>
          <p:cNvSpPr/>
          <p:nvPr/>
        </p:nvSpPr>
        <p:spPr>
          <a:xfrm>
            <a:off x="6901953" y="2515432"/>
            <a:ext cx="3996405" cy="492443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pPr lvl="0"/>
            <a:r>
              <a:rPr lang="en-US" sz="16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Train model using back propagation for several epochs to get accuracy</a:t>
            </a:r>
            <a:endParaRPr lang="en-US" sz="1600" dirty="0">
              <a:solidFill>
                <a:schemeClr val="tx1">
                  <a:lumMod val="75000"/>
                  <a:lumOff val="25000"/>
                </a:schemeClr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cxnSp>
        <p:nvCxnSpPr>
          <p:cNvPr id="17" name="Straight Arrow Connector 16"/>
          <p:cNvCxnSpPr/>
          <p:nvPr/>
        </p:nvCxnSpPr>
        <p:spPr>
          <a:xfrm flipH="1" flipV="1">
            <a:off x="6239169" y="4312000"/>
            <a:ext cx="8348" cy="37545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0" name="Straight Arrow Connector 79"/>
          <p:cNvCxnSpPr/>
          <p:nvPr/>
        </p:nvCxnSpPr>
        <p:spPr>
          <a:xfrm flipH="1" flipV="1">
            <a:off x="6227838" y="3159763"/>
            <a:ext cx="8348" cy="37545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1" name="Straight Arrow Connector 80"/>
          <p:cNvCxnSpPr/>
          <p:nvPr/>
        </p:nvCxnSpPr>
        <p:spPr>
          <a:xfrm flipH="1" flipV="1">
            <a:off x="6231497" y="1993779"/>
            <a:ext cx="8348" cy="37545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4" name="Slide Number Placeholder 2">
            <a:extLst>
              <a:ext uri="{FF2B5EF4-FFF2-40B4-BE49-F238E27FC236}">
                <a16:creationId xmlns:a16="http://schemas.microsoft.com/office/drawing/2014/main" id="{717AF783-CABC-4AF2-809A-1DCEABA2CFFD}"/>
              </a:ext>
            </a:extLst>
          </p:cNvPr>
          <p:cNvSpPr txBox="1">
            <a:spLocks/>
          </p:cNvSpPr>
          <p:nvPr/>
        </p:nvSpPr>
        <p:spPr>
          <a:xfrm>
            <a:off x="11604794" y="298450"/>
            <a:ext cx="431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pl-PL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ID" dirty="0" smtClean="0">
                <a:solidFill>
                  <a:schemeClr val="tx1"/>
                </a:solidFill>
              </a:rPr>
              <a:t>0</a:t>
            </a:r>
            <a:fld id="{2CBBA7E6-4538-4F86-A84E-2F9DAC94FB18}" type="slidenum">
              <a:rPr lang="en-ID" smtClean="0">
                <a:solidFill>
                  <a:schemeClr val="tx1"/>
                </a:solidFill>
              </a:rPr>
              <a:pPr algn="ctr"/>
              <a:t>6</a:t>
            </a:fld>
            <a:endParaRPr lang="en-ID" dirty="0">
              <a:solidFill>
                <a:schemeClr val="tx1"/>
              </a:solidFill>
            </a:endParaRPr>
          </a:p>
        </p:txBody>
      </p:sp>
      <p:cxnSp>
        <p:nvCxnSpPr>
          <p:cNvPr id="85" name="Straight Connector 84">
            <a:extLst>
              <a:ext uri="{FF2B5EF4-FFF2-40B4-BE49-F238E27FC236}">
                <a16:creationId xmlns:a16="http://schemas.microsoft.com/office/drawing/2014/main" id="{E76D8B24-ABF5-4567-B965-7BD12085D9C8}"/>
              </a:ext>
            </a:extLst>
          </p:cNvPr>
          <p:cNvCxnSpPr>
            <a:cxnSpLocks/>
          </p:cNvCxnSpPr>
          <p:nvPr/>
        </p:nvCxnSpPr>
        <p:spPr>
          <a:xfrm>
            <a:off x="11798469" y="723906"/>
            <a:ext cx="0" cy="6134094"/>
          </a:xfrm>
          <a:prstGeom prst="line">
            <a:avLst/>
          </a:prstGeom>
          <a:ln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5500890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4" fill="hold">
                      <p:stCondLst>
                        <p:cond delay="indefinite"/>
                      </p:stCondLst>
                      <p:childTnLst>
                        <p:par>
                          <p:cTn id="35" fill="hold">
                            <p:stCondLst>
                              <p:cond delay="0"/>
                            </p:stCondLst>
                            <p:childTnLst>
                              <p:par>
                                <p:cTn id="3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3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500"/>
                                        <p:tgtEl>
                                          <p:spTgt spid="8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7" fill="hold">
                      <p:stCondLst>
                        <p:cond delay="indefinite"/>
                      </p:stCondLst>
                      <p:childTnLst>
                        <p:par>
                          <p:cTn id="58" fill="hold">
                            <p:stCondLst>
                              <p:cond delay="0"/>
                            </p:stCondLst>
                            <p:childTnLst>
                              <p:par>
                                <p:cTn id="5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1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4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0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3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6" dur="500"/>
                                        <p:tgtEl>
                                          <p:spTgt spid="7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9" dur="500"/>
                                        <p:tgtEl>
                                          <p:spTgt spid="7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2" dur="500"/>
                                        <p:tgtEl>
                                          <p:spTgt spid="8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3" fill="hold">
                      <p:stCondLst>
                        <p:cond delay="indefinite"/>
                      </p:stCondLst>
                      <p:childTnLst>
                        <p:par>
                          <p:cTn id="84" fill="hold">
                            <p:stCondLst>
                              <p:cond delay="0"/>
                            </p:stCondLst>
                            <p:childTnLst>
                              <p:par>
                                <p:cTn id="8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0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3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6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9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2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7" grpId="0" animBg="1"/>
      <p:bldP spid="6" grpId="0" animBg="1"/>
      <p:bldP spid="7" grpId="0" animBg="1"/>
      <p:bldP spid="8" grpId="0" animBg="1"/>
      <p:bldP spid="9" grpId="0" animBg="1"/>
      <p:bldP spid="10" grpId="0" animBg="1"/>
      <p:bldP spid="11" grpId="0" animBg="1"/>
      <p:bldP spid="12" grpId="0" animBg="1"/>
      <p:bldP spid="13" grpId="0" animBg="1"/>
      <p:bldP spid="14" grpId="0" animBg="1"/>
      <p:bldP spid="15" grpId="0" animBg="1"/>
      <p:bldP spid="16" grpId="0" animBg="1"/>
      <p:bldP spid="23" grpId="0" animBg="1"/>
      <p:bldP spid="24" grpId="0" animBg="1"/>
      <p:bldP spid="25" grpId="0" animBg="1"/>
      <p:bldP spid="26" grpId="0" animBg="1"/>
      <p:bldP spid="37" grpId="0"/>
      <p:bldP spid="38" grpId="0"/>
      <p:bldP spid="40" grpId="0"/>
      <p:bldP spid="79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15584CA-666C-473A-9746-5F1F99C24F8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69"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C15584CA-666C-473A-9746-5F1F99C24F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0F8D9E86-4235-415D-B5EA-770BAE2641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68972" y="2766219"/>
            <a:ext cx="5144146" cy="1325563"/>
          </a:xfrm>
        </p:spPr>
        <p:txBody>
          <a:bodyPr vert="horz"/>
          <a:lstStyle/>
          <a:p>
            <a:r>
              <a:rPr lang="en-US" sz="4400" dirty="0" smtClean="0">
                <a:cs typeface="Segoe UI Light" panose="020B0502040204020203" pitchFamily="34" charset="0"/>
              </a:rPr>
              <a:t>What was the plan?</a:t>
            </a:r>
            <a:endParaRPr lang="en-US" dirty="0"/>
          </a:p>
        </p:txBody>
      </p:sp>
      <p:sp>
        <p:nvSpPr>
          <p:cNvPr id="84" name="Slide Number Placeholder 2">
            <a:extLst>
              <a:ext uri="{FF2B5EF4-FFF2-40B4-BE49-F238E27FC236}">
                <a16:creationId xmlns:a16="http://schemas.microsoft.com/office/drawing/2014/main" id="{717AF783-CABC-4AF2-809A-1DCEABA2CFFD}"/>
              </a:ext>
            </a:extLst>
          </p:cNvPr>
          <p:cNvSpPr txBox="1">
            <a:spLocks/>
          </p:cNvSpPr>
          <p:nvPr/>
        </p:nvSpPr>
        <p:spPr>
          <a:xfrm>
            <a:off x="11604794" y="298450"/>
            <a:ext cx="431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pl-PL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ID" dirty="0" smtClean="0">
                <a:solidFill>
                  <a:schemeClr val="tx1"/>
                </a:solidFill>
              </a:rPr>
              <a:t>0</a:t>
            </a:r>
            <a:fld id="{2CBBA7E6-4538-4F86-A84E-2F9DAC94FB18}" type="slidenum">
              <a:rPr lang="en-ID" smtClean="0">
                <a:solidFill>
                  <a:schemeClr val="tx1"/>
                </a:solidFill>
              </a:rPr>
              <a:pPr algn="ctr"/>
              <a:t>7</a:t>
            </a:fld>
            <a:endParaRPr lang="en-ID" dirty="0">
              <a:solidFill>
                <a:schemeClr val="tx1"/>
              </a:solidFill>
            </a:endParaRPr>
          </a:p>
        </p:txBody>
      </p:sp>
      <p:cxnSp>
        <p:nvCxnSpPr>
          <p:cNvPr id="85" name="Straight Connector 84">
            <a:extLst>
              <a:ext uri="{FF2B5EF4-FFF2-40B4-BE49-F238E27FC236}">
                <a16:creationId xmlns:a16="http://schemas.microsoft.com/office/drawing/2014/main" id="{E76D8B24-ABF5-4567-B965-7BD12085D9C8}"/>
              </a:ext>
            </a:extLst>
          </p:cNvPr>
          <p:cNvCxnSpPr>
            <a:cxnSpLocks/>
          </p:cNvCxnSpPr>
          <p:nvPr/>
        </p:nvCxnSpPr>
        <p:spPr>
          <a:xfrm>
            <a:off x="11798469" y="723906"/>
            <a:ext cx="0" cy="6134094"/>
          </a:xfrm>
          <a:prstGeom prst="line">
            <a:avLst/>
          </a:prstGeom>
          <a:ln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7952631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Slide Number Placeholder 2">
            <a:extLst>
              <a:ext uri="{FF2B5EF4-FFF2-40B4-BE49-F238E27FC236}">
                <a16:creationId xmlns:a16="http://schemas.microsoft.com/office/drawing/2014/main" id="{717AF783-CABC-4AF2-809A-1DCEABA2CF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17300" y="298450"/>
            <a:ext cx="431800" cy="365125"/>
          </a:xfrm>
        </p:spPr>
        <p:txBody>
          <a:bodyPr/>
          <a:lstStyle/>
          <a:p>
            <a:pPr algn="ctr"/>
            <a:r>
              <a:rPr lang="en-ID" dirty="0">
                <a:solidFill>
                  <a:schemeClr val="bg2">
                    <a:lumMod val="25000"/>
                  </a:schemeClr>
                </a:solidFill>
              </a:rPr>
              <a:t>0</a:t>
            </a:r>
            <a:fld id="{2CBBA7E6-4538-4F86-A84E-2F9DAC94FB18}" type="slidenum">
              <a:rPr lang="en-ID" smtClean="0">
                <a:solidFill>
                  <a:schemeClr val="bg2">
                    <a:lumMod val="25000"/>
                  </a:schemeClr>
                </a:solidFill>
              </a:rPr>
              <a:pPr algn="ctr"/>
              <a:t>8</a:t>
            </a:fld>
            <a:endParaRPr lang="en-ID" dirty="0">
              <a:solidFill>
                <a:schemeClr val="bg2">
                  <a:lumMod val="25000"/>
                </a:schemeClr>
              </a:solidFill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6FC8AABA-FA9E-4985-9ACD-BE0270142C9C}"/>
              </a:ext>
            </a:extLst>
          </p:cNvPr>
          <p:cNvSpPr/>
          <p:nvPr/>
        </p:nvSpPr>
        <p:spPr>
          <a:xfrm>
            <a:off x="1163829" y="2468828"/>
            <a:ext cx="2946290" cy="264425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>
              <a:lnSpc>
                <a:spcPct val="150000"/>
              </a:lnSpc>
              <a:defRPr/>
            </a:pPr>
            <a:r>
              <a:rPr lang="en-US" sz="1400" dirty="0" smtClean="0">
                <a:solidFill>
                  <a:schemeClr val="bg2">
                    <a:lumMod val="25000"/>
                  </a:schemeClr>
                </a:solidFill>
                <a:latin typeface="+mj-lt"/>
              </a:rPr>
              <a:t>It </a:t>
            </a:r>
            <a:r>
              <a:rPr lang="en-US" sz="1400" dirty="0">
                <a:solidFill>
                  <a:schemeClr val="bg2">
                    <a:lumMod val="25000"/>
                  </a:schemeClr>
                </a:solidFill>
                <a:latin typeface="+mj-lt"/>
              </a:rPr>
              <a:t> is a design principle noted by the U.S. Navy in 1960. The KISS principle states that most systems work best if they are kept simple rather than made complicated; therefore, simplicity should be a key goal in design, and unnecessary complexity should be avoided.</a:t>
            </a:r>
            <a:endParaRPr lang="en-US" sz="1400" dirty="0">
              <a:solidFill>
                <a:schemeClr val="bg2">
                  <a:lumMod val="25000"/>
                </a:schemeClr>
              </a:solidFill>
              <a:latin typeface="+mj-lt"/>
              <a:ea typeface="Source Sans Pro" panose="020B0503030403020204" pitchFamily="34" charset="0"/>
              <a:cs typeface="Calibri Light" panose="020F0302020204030204" pitchFamily="34" charset="0"/>
            </a:endParaRPr>
          </a:p>
        </p:txBody>
      </p:sp>
      <p:pic>
        <p:nvPicPr>
          <p:cNvPr id="28674" name="Picture 2" descr="https://images.squarespace-cdn.com/content/v1/5910e406893fc011d4e48291/1586585175640-8IERPAG0I70URNBEEW0M/ke17ZwdGBToddI8pDm48kOO_XdwN4acLHS9O6Z8uKl1Zw-zPPgdn4jUwVcJE1ZvWQUxwkmyExglNqGp0IvTJZUJFbgE-7XRK3dMEBRBhUpy1Y3gMOG25KG3d1hHdIQ0r2opdI8n-Y55RyseqUxxVAaloPyqO_-FXwgl7bArAbvM/KISS?format=750w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68900" y="677961"/>
            <a:ext cx="6248400" cy="62579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E76D8B24-ABF5-4567-B965-7BD12085D9C8}"/>
              </a:ext>
            </a:extLst>
          </p:cNvPr>
          <p:cNvCxnSpPr>
            <a:cxnSpLocks/>
          </p:cNvCxnSpPr>
          <p:nvPr/>
        </p:nvCxnSpPr>
        <p:spPr>
          <a:xfrm>
            <a:off x="11633200" y="723906"/>
            <a:ext cx="0" cy="6134094"/>
          </a:xfrm>
          <a:prstGeom prst="line">
            <a:avLst/>
          </a:prstGeom>
          <a:ln>
            <a:solidFill>
              <a:schemeClr val="tx1">
                <a:alpha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048845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6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86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0" grpId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AF5EE00-4ED9-4DD8-87E6-1D17AACF804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69"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AF5EE00-4ED9-4DD8-87E6-1D17AACF804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9" name="Rectangle 118">
            <a:extLst>
              <a:ext uri="{FF2B5EF4-FFF2-40B4-BE49-F238E27FC236}">
                <a16:creationId xmlns:a16="http://schemas.microsoft.com/office/drawing/2014/main" id="{26519E81-C48F-4DC1-8447-5AA3137BE5EE}"/>
              </a:ext>
            </a:extLst>
          </p:cNvPr>
          <p:cNvSpPr/>
          <p:nvPr/>
        </p:nvSpPr>
        <p:spPr>
          <a:xfrm>
            <a:off x="-1529" y="0"/>
            <a:ext cx="6079658" cy="6850559"/>
          </a:xfrm>
          <a:prstGeom prst="rect">
            <a:avLst/>
          </a:prstGeom>
          <a:solidFill>
            <a:srgbClr val="DCECF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2" name="Oval 121">
            <a:extLst>
              <a:ext uri="{FF2B5EF4-FFF2-40B4-BE49-F238E27FC236}">
                <a16:creationId xmlns:a16="http://schemas.microsoft.com/office/drawing/2014/main" id="{4CF19218-D3EC-4794-8C38-D41EA827A590}"/>
              </a:ext>
            </a:extLst>
          </p:cNvPr>
          <p:cNvSpPr/>
          <p:nvPr/>
        </p:nvSpPr>
        <p:spPr>
          <a:xfrm>
            <a:off x="4049780" y="1722935"/>
            <a:ext cx="3672713" cy="3672713"/>
          </a:xfrm>
          <a:prstGeom prst="ellipse">
            <a:avLst/>
          </a:prstGeom>
          <a:noFill/>
          <a:ln>
            <a:solidFill>
              <a:schemeClr val="tx1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D7172913-8219-48A7-A6CD-ADCCC1FB34C0}"/>
              </a:ext>
            </a:extLst>
          </p:cNvPr>
          <p:cNvSpPr/>
          <p:nvPr/>
        </p:nvSpPr>
        <p:spPr>
          <a:xfrm>
            <a:off x="3298159" y="3090160"/>
            <a:ext cx="958210" cy="958210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Georgia" panose="02040502050405020303" pitchFamily="18" charset="0"/>
            </a:endParaRP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DDD94FF4-B90B-4440-94C5-3AC592E68A9B}"/>
              </a:ext>
            </a:extLst>
          </p:cNvPr>
          <p:cNvSpPr/>
          <p:nvPr/>
        </p:nvSpPr>
        <p:spPr>
          <a:xfrm>
            <a:off x="3450029" y="3242030"/>
            <a:ext cx="654470" cy="654470"/>
          </a:xfrm>
          <a:prstGeom prst="ellipse">
            <a:avLst/>
          </a:prstGeom>
          <a:gradFill>
            <a:gsLst>
              <a:gs pos="0">
                <a:srgbClr val="0BD0D9"/>
              </a:gs>
              <a:gs pos="100000">
                <a:srgbClr val="0BD0D9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Georgia" panose="02040502050405020303" pitchFamily="18" charset="0"/>
            </a:endParaRPr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16050502-DC4C-41ED-A17C-E585BA510640}"/>
              </a:ext>
            </a:extLst>
          </p:cNvPr>
          <p:cNvSpPr/>
          <p:nvPr/>
        </p:nvSpPr>
        <p:spPr>
          <a:xfrm>
            <a:off x="7515905" y="3090160"/>
            <a:ext cx="958210" cy="958210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Georgia" panose="02040502050405020303" pitchFamily="18" charset="0"/>
            </a:endParaRPr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3F91F26D-C9D6-4B21-88EF-B4A7801CEDBA}"/>
              </a:ext>
            </a:extLst>
          </p:cNvPr>
          <p:cNvSpPr/>
          <p:nvPr/>
        </p:nvSpPr>
        <p:spPr>
          <a:xfrm>
            <a:off x="7667775" y="3242030"/>
            <a:ext cx="654470" cy="654470"/>
          </a:xfrm>
          <a:prstGeom prst="ellipse">
            <a:avLst/>
          </a:prstGeom>
          <a:gradFill>
            <a:gsLst>
              <a:gs pos="0">
                <a:srgbClr val="0BD0D9"/>
              </a:gs>
              <a:gs pos="100000">
                <a:srgbClr val="0BD0D9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Georgia" panose="02040502050405020303" pitchFamily="18" charset="0"/>
            </a:endParaRPr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7472D860-95D8-4E3C-972E-E8B6348EAB62}"/>
              </a:ext>
            </a:extLst>
          </p:cNvPr>
          <p:cNvSpPr/>
          <p:nvPr/>
        </p:nvSpPr>
        <p:spPr>
          <a:xfrm>
            <a:off x="2467920" y="4923608"/>
            <a:ext cx="491714" cy="491714"/>
          </a:xfrm>
          <a:prstGeom prst="ellipse">
            <a:avLst/>
          </a:prstGeom>
          <a:solidFill>
            <a:srgbClr val="0BD0D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Georgia" panose="02040502050405020303" pitchFamily="18" charset="0"/>
            </a:endParaRP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DC3713BE-817F-407A-B482-20E009EDD5FB}"/>
              </a:ext>
            </a:extLst>
          </p:cNvPr>
          <p:cNvSpPr/>
          <p:nvPr/>
        </p:nvSpPr>
        <p:spPr>
          <a:xfrm>
            <a:off x="2468779" y="1759289"/>
            <a:ext cx="491714" cy="491714"/>
          </a:xfrm>
          <a:prstGeom prst="ellipse">
            <a:avLst/>
          </a:prstGeom>
          <a:solidFill>
            <a:srgbClr val="0BD0D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Georgia" panose="02040502050405020303" pitchFamily="18" charset="0"/>
            </a:endParaRP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46F351F5-BADE-426B-8935-DA3902F971C1}"/>
              </a:ext>
            </a:extLst>
          </p:cNvPr>
          <p:cNvSpPr/>
          <p:nvPr/>
        </p:nvSpPr>
        <p:spPr>
          <a:xfrm>
            <a:off x="8813866" y="1732603"/>
            <a:ext cx="491714" cy="491714"/>
          </a:xfrm>
          <a:prstGeom prst="ellipse">
            <a:avLst/>
          </a:prstGeom>
          <a:solidFill>
            <a:srgbClr val="0BD0D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Georgia" panose="02040502050405020303" pitchFamily="18" charset="0"/>
            </a:endParaRPr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6A3D7A8C-84BB-4024-8DAB-1EE82D783932}"/>
              </a:ext>
            </a:extLst>
          </p:cNvPr>
          <p:cNvSpPr/>
          <p:nvPr/>
        </p:nvSpPr>
        <p:spPr>
          <a:xfrm>
            <a:off x="8813866" y="4923608"/>
            <a:ext cx="491714" cy="491714"/>
          </a:xfrm>
          <a:prstGeom prst="ellipse">
            <a:avLst/>
          </a:prstGeom>
          <a:solidFill>
            <a:srgbClr val="0BD0D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Georgia" panose="02040502050405020303" pitchFamily="18" charset="0"/>
            </a:endParaRPr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7B8446D2-4FCF-4663-9917-211EFC37BF0C}"/>
              </a:ext>
            </a:extLst>
          </p:cNvPr>
          <p:cNvCxnSpPr>
            <a:cxnSpLocks/>
          </p:cNvCxnSpPr>
          <p:nvPr/>
        </p:nvCxnSpPr>
        <p:spPr>
          <a:xfrm>
            <a:off x="2843982" y="2166365"/>
            <a:ext cx="656589" cy="99973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E5AAE26C-8271-4BBB-A9EF-0170B50ECF25}"/>
              </a:ext>
            </a:extLst>
          </p:cNvPr>
          <p:cNvCxnSpPr>
            <a:cxnSpLocks/>
          </p:cNvCxnSpPr>
          <p:nvPr/>
        </p:nvCxnSpPr>
        <p:spPr>
          <a:xfrm flipV="1">
            <a:off x="2876381" y="3987891"/>
            <a:ext cx="647064" cy="101411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9E49CCBD-1452-4101-9F04-2646E68860F6}"/>
              </a:ext>
            </a:extLst>
          </p:cNvPr>
          <p:cNvCxnSpPr>
            <a:cxnSpLocks/>
            <a:endCxn id="19" idx="3"/>
          </p:cNvCxnSpPr>
          <p:nvPr/>
        </p:nvCxnSpPr>
        <p:spPr>
          <a:xfrm flipV="1">
            <a:off x="8229288" y="2152307"/>
            <a:ext cx="656588" cy="998144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BB017EF1-4DD7-4640-BCC1-C2950F9B2FBD}"/>
              </a:ext>
            </a:extLst>
          </p:cNvPr>
          <p:cNvCxnSpPr>
            <a:cxnSpLocks/>
            <a:endCxn id="21" idx="1"/>
          </p:cNvCxnSpPr>
          <p:nvPr/>
        </p:nvCxnSpPr>
        <p:spPr>
          <a:xfrm>
            <a:off x="8174077" y="4012013"/>
            <a:ext cx="711799" cy="983605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Box 25">
            <a:extLst>
              <a:ext uri="{FF2B5EF4-FFF2-40B4-BE49-F238E27FC236}">
                <a16:creationId xmlns:a16="http://schemas.microsoft.com/office/drawing/2014/main" id="{64272D89-5915-4BE3-BB72-79394116FD54}"/>
              </a:ext>
            </a:extLst>
          </p:cNvPr>
          <p:cNvSpPr txBox="1"/>
          <p:nvPr/>
        </p:nvSpPr>
        <p:spPr>
          <a:xfrm>
            <a:off x="359709" y="1797209"/>
            <a:ext cx="1856129" cy="215444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 anchor="ctr" anchorCtr="0">
            <a:spAutoFit/>
          </a:bodyPr>
          <a:lstStyle/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kern="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Upload Dataset</a:t>
            </a: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schemeClr val="tx1">
                  <a:lumMod val="65000"/>
                  <a:lumOff val="35000"/>
                </a:schemeClr>
              </a:solidFill>
              <a:effectLst/>
              <a:uLnTx/>
              <a:uFillTx/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45AFA1DC-6B45-4417-8F1F-409C115952ED}"/>
              </a:ext>
            </a:extLst>
          </p:cNvPr>
          <p:cNvSpPr txBox="1"/>
          <p:nvPr/>
        </p:nvSpPr>
        <p:spPr>
          <a:xfrm>
            <a:off x="359709" y="4954022"/>
            <a:ext cx="1856129" cy="430887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 anchor="ctr" anchorCtr="0">
            <a:spAutoFit/>
          </a:bodyPr>
          <a:lstStyle/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>
                    <a:lumMod val="65000"/>
                    <a:lumOff val="35000"/>
                  </a:schemeClr>
                </a:solidFill>
                <a:effectLst/>
                <a:uLnTx/>
                <a:uFillTx/>
                <a:latin typeface="Calibri Light" panose="020F0302020204030204" pitchFamily="34" charset="0"/>
                <a:cs typeface="Calibri Light" panose="020F0302020204030204" pitchFamily="34" charset="0"/>
              </a:rPr>
              <a:t>Select</a:t>
            </a:r>
            <a:r>
              <a:rPr kumimoji="0" lang="en-US" sz="1400" b="0" i="0" u="none" strike="noStrike" kern="0" cap="none" spc="0" normalizeH="0" noProof="0" dirty="0" smtClean="0">
                <a:ln>
                  <a:noFill/>
                </a:ln>
                <a:solidFill>
                  <a:schemeClr val="tx1">
                    <a:lumMod val="65000"/>
                    <a:lumOff val="35000"/>
                  </a:schemeClr>
                </a:solidFill>
                <a:effectLst/>
                <a:uLnTx/>
                <a:uFillTx/>
                <a:latin typeface="Calibri Light" panose="020F0302020204030204" pitchFamily="34" charset="0"/>
                <a:cs typeface="Calibri Light" panose="020F0302020204030204" pitchFamily="34" charset="0"/>
              </a:rPr>
              <a:t> input and output size</a:t>
            </a: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schemeClr val="tx1">
                  <a:lumMod val="65000"/>
                  <a:lumOff val="35000"/>
                </a:schemeClr>
              </a:solidFill>
              <a:effectLst/>
              <a:uLnTx/>
              <a:uFillTx/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34D7AF95-96E3-44A9-AB7F-1F7350BBC483}"/>
              </a:ext>
            </a:extLst>
          </p:cNvPr>
          <p:cNvSpPr txBox="1"/>
          <p:nvPr/>
        </p:nvSpPr>
        <p:spPr>
          <a:xfrm>
            <a:off x="359709" y="3180338"/>
            <a:ext cx="2752980" cy="646331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 anchor="ctr" anchorCtr="0">
            <a:spAutoFit/>
          </a:bodyPr>
          <a:lstStyle/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>
                    <a:lumMod val="65000"/>
                    <a:lumOff val="35000"/>
                  </a:schemeClr>
                </a:solidFill>
                <a:effectLst/>
                <a:uLnTx/>
                <a:uFillTx/>
                <a:latin typeface="Calibri Light" panose="020F0302020204030204" pitchFamily="34" charset="0"/>
                <a:cs typeface="Calibri Light" panose="020F0302020204030204" pitchFamily="34" charset="0"/>
              </a:rPr>
              <a:t>Dataset and configuration file will be uploaded to the server for further</a:t>
            </a:r>
            <a:r>
              <a:rPr kumimoji="0" lang="en-US" sz="1400" b="0" i="0" u="none" strike="noStrike" kern="0" cap="none" spc="0" normalizeH="0" noProof="0" dirty="0" smtClean="0">
                <a:ln>
                  <a:noFill/>
                </a:ln>
                <a:solidFill>
                  <a:schemeClr val="tx1">
                    <a:lumMod val="65000"/>
                    <a:lumOff val="35000"/>
                  </a:schemeClr>
                </a:solidFill>
                <a:effectLst/>
                <a:uLnTx/>
                <a:uFillTx/>
                <a:latin typeface="Calibri Light" panose="020F0302020204030204" pitchFamily="34" charset="0"/>
                <a:cs typeface="Calibri Light" panose="020F0302020204030204" pitchFamily="34" charset="0"/>
              </a:rPr>
              <a:t> processing</a:t>
            </a: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schemeClr val="tx1">
                  <a:lumMod val="65000"/>
                  <a:lumOff val="35000"/>
                </a:schemeClr>
              </a:solidFill>
              <a:effectLst/>
              <a:uLnTx/>
              <a:uFillTx/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CF72BEEC-8F80-4CB3-92A5-8A0985305AFC}"/>
              </a:ext>
            </a:extLst>
          </p:cNvPr>
          <p:cNvSpPr txBox="1"/>
          <p:nvPr/>
        </p:nvSpPr>
        <p:spPr>
          <a:xfrm>
            <a:off x="9548741" y="4682445"/>
            <a:ext cx="1856129" cy="861774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 anchor="ctr" anchorCtr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kern="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Pertained weights for the best model will also be sent to the user after training completed</a:t>
            </a: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schemeClr val="tx1">
                  <a:lumMod val="65000"/>
                  <a:lumOff val="35000"/>
                </a:schemeClr>
              </a:solidFill>
              <a:effectLst/>
              <a:uLnTx/>
              <a:uFillTx/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128BB9A5-EA9E-4AD5-9774-0AD002A6FB70}"/>
              </a:ext>
            </a:extLst>
          </p:cNvPr>
          <p:cNvSpPr txBox="1"/>
          <p:nvPr/>
        </p:nvSpPr>
        <p:spPr>
          <a:xfrm>
            <a:off x="9556438" y="1541271"/>
            <a:ext cx="1856129" cy="861774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 anchor="ctr" anchorCtr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>
                    <a:lumMod val="65000"/>
                    <a:lumOff val="35000"/>
                  </a:schemeClr>
                </a:solidFill>
                <a:effectLst/>
                <a:uLnTx/>
                <a:uFillTx/>
                <a:latin typeface="Calibri Light" panose="020F0302020204030204" pitchFamily="34" charset="0"/>
                <a:cs typeface="Calibri Light" panose="020F0302020204030204" pitchFamily="34" charset="0"/>
              </a:rPr>
              <a:t>Best model architecture</a:t>
            </a:r>
            <a:r>
              <a:rPr kumimoji="0" lang="en-US" sz="1400" b="0" i="0" u="none" strike="noStrike" kern="0" cap="none" spc="0" normalizeH="0" noProof="0" dirty="0" smtClean="0">
                <a:ln>
                  <a:noFill/>
                </a:ln>
                <a:solidFill>
                  <a:schemeClr val="tx1">
                    <a:lumMod val="65000"/>
                    <a:lumOff val="35000"/>
                  </a:schemeClr>
                </a:solidFill>
                <a:effectLst/>
                <a:uLnTx/>
                <a:uFillTx/>
                <a:latin typeface="Calibri Light" panose="020F0302020204030204" pitchFamily="34" charset="0"/>
                <a:cs typeface="Calibri Light" panose="020F0302020204030204" pitchFamily="34" charset="0"/>
              </a:rPr>
              <a:t> will be sent to the user with it’s training / testing accuracy</a:t>
            </a: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schemeClr val="tx1">
                  <a:lumMod val="65000"/>
                  <a:lumOff val="35000"/>
                </a:schemeClr>
              </a:solidFill>
              <a:effectLst/>
              <a:uLnTx/>
              <a:uFillTx/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grpSp>
        <p:nvGrpSpPr>
          <p:cNvPr id="45" name="Group 44">
            <a:extLst>
              <a:ext uri="{FF2B5EF4-FFF2-40B4-BE49-F238E27FC236}">
                <a16:creationId xmlns:a16="http://schemas.microsoft.com/office/drawing/2014/main" id="{C6AA0C94-699E-4408-AABF-1CEDAD13F4E4}"/>
              </a:ext>
            </a:extLst>
          </p:cNvPr>
          <p:cNvGrpSpPr/>
          <p:nvPr/>
        </p:nvGrpSpPr>
        <p:grpSpPr>
          <a:xfrm>
            <a:off x="3627245" y="3409722"/>
            <a:ext cx="300038" cy="319087"/>
            <a:chOff x="7758113" y="3633788"/>
            <a:chExt cx="300038" cy="319087"/>
          </a:xfrm>
        </p:grpSpPr>
        <p:sp>
          <p:nvSpPr>
            <p:cNvPr id="46" name="Freeform 5">
              <a:extLst>
                <a:ext uri="{FF2B5EF4-FFF2-40B4-BE49-F238E27FC236}">
                  <a16:creationId xmlns:a16="http://schemas.microsoft.com/office/drawing/2014/main" id="{0FDFFB04-FF4D-4549-B0D9-5DE56179B190}"/>
                </a:ext>
              </a:extLst>
            </p:cNvPr>
            <p:cNvSpPr>
              <a:spLocks/>
            </p:cNvSpPr>
            <p:nvPr/>
          </p:nvSpPr>
          <p:spPr bwMode="auto">
            <a:xfrm>
              <a:off x="7818438" y="3694113"/>
              <a:ext cx="179388" cy="198438"/>
            </a:xfrm>
            <a:custGeom>
              <a:avLst/>
              <a:gdLst>
                <a:gd name="T0" fmla="*/ 48 w 48"/>
                <a:gd name="T1" fmla="*/ 24 h 52"/>
                <a:gd name="T2" fmla="*/ 24 w 48"/>
                <a:gd name="T3" fmla="*/ 0 h 52"/>
                <a:gd name="T4" fmla="*/ 0 w 48"/>
                <a:gd name="T5" fmla="*/ 24 h 52"/>
                <a:gd name="T6" fmla="*/ 18 w 48"/>
                <a:gd name="T7" fmla="*/ 47 h 52"/>
                <a:gd name="T8" fmla="*/ 18 w 48"/>
                <a:gd name="T9" fmla="*/ 52 h 52"/>
                <a:gd name="T10" fmla="*/ 30 w 48"/>
                <a:gd name="T11" fmla="*/ 52 h 52"/>
                <a:gd name="T12" fmla="*/ 30 w 48"/>
                <a:gd name="T13" fmla="*/ 47 h 52"/>
                <a:gd name="T14" fmla="*/ 48 w 48"/>
                <a:gd name="T15" fmla="*/ 24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8" h="52">
                  <a:moveTo>
                    <a:pt x="48" y="24"/>
                  </a:moveTo>
                  <a:cubicBezTo>
                    <a:pt x="48" y="11"/>
                    <a:pt x="37" y="0"/>
                    <a:pt x="24" y="0"/>
                  </a:cubicBezTo>
                  <a:cubicBezTo>
                    <a:pt x="11" y="0"/>
                    <a:pt x="0" y="11"/>
                    <a:pt x="0" y="24"/>
                  </a:cubicBezTo>
                  <a:cubicBezTo>
                    <a:pt x="0" y="35"/>
                    <a:pt x="8" y="45"/>
                    <a:pt x="18" y="47"/>
                  </a:cubicBezTo>
                  <a:cubicBezTo>
                    <a:pt x="18" y="52"/>
                    <a:pt x="18" y="52"/>
                    <a:pt x="18" y="52"/>
                  </a:cubicBezTo>
                  <a:cubicBezTo>
                    <a:pt x="30" y="52"/>
                    <a:pt x="30" y="52"/>
                    <a:pt x="30" y="52"/>
                  </a:cubicBezTo>
                  <a:cubicBezTo>
                    <a:pt x="30" y="47"/>
                    <a:pt x="30" y="47"/>
                    <a:pt x="30" y="47"/>
                  </a:cubicBezTo>
                  <a:cubicBezTo>
                    <a:pt x="40" y="45"/>
                    <a:pt x="48" y="35"/>
                    <a:pt x="48" y="24"/>
                  </a:cubicBezTo>
                  <a:close/>
                </a:path>
              </a:pathLst>
            </a:custGeom>
            <a:noFill/>
            <a:ln w="15875" cap="rnd">
              <a:solidFill>
                <a:schemeClr val="tx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>
                <a:latin typeface="Georgia" panose="02040502050405020303" pitchFamily="18" charset="0"/>
              </a:endParaRPr>
            </a:p>
          </p:txBody>
        </p:sp>
        <p:sp>
          <p:nvSpPr>
            <p:cNvPr id="47" name="Line 6">
              <a:extLst>
                <a:ext uri="{FF2B5EF4-FFF2-40B4-BE49-F238E27FC236}">
                  <a16:creationId xmlns:a16="http://schemas.microsoft.com/office/drawing/2014/main" id="{FC669AAD-2426-46D1-93F5-579528BCD9D8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7900988" y="3952875"/>
              <a:ext cx="14288" cy="0"/>
            </a:xfrm>
            <a:prstGeom prst="line">
              <a:avLst/>
            </a:prstGeom>
            <a:noFill/>
            <a:ln w="15875" cap="rnd">
              <a:solidFill>
                <a:schemeClr val="tx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>
                <a:latin typeface="Georgia" panose="02040502050405020303" pitchFamily="18" charset="0"/>
              </a:endParaRPr>
            </a:p>
          </p:txBody>
        </p:sp>
        <p:sp>
          <p:nvSpPr>
            <p:cNvPr id="48" name="Line 7">
              <a:extLst>
                <a:ext uri="{FF2B5EF4-FFF2-40B4-BE49-F238E27FC236}">
                  <a16:creationId xmlns:a16="http://schemas.microsoft.com/office/drawing/2014/main" id="{9DA6B1CF-2F2D-4FA5-A04E-26C3A50F4C55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7885113" y="3922713"/>
              <a:ext cx="46038" cy="0"/>
            </a:xfrm>
            <a:prstGeom prst="line">
              <a:avLst/>
            </a:prstGeom>
            <a:noFill/>
            <a:ln w="15875" cap="rnd">
              <a:solidFill>
                <a:schemeClr val="tx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>
                <a:latin typeface="Georgia" panose="02040502050405020303" pitchFamily="18" charset="0"/>
              </a:endParaRPr>
            </a:p>
          </p:txBody>
        </p:sp>
        <p:sp>
          <p:nvSpPr>
            <p:cNvPr id="49" name="Line 8">
              <a:extLst>
                <a:ext uri="{FF2B5EF4-FFF2-40B4-BE49-F238E27FC236}">
                  <a16:creationId xmlns:a16="http://schemas.microsoft.com/office/drawing/2014/main" id="{3E02FB95-0C6F-474D-B450-862E49094D4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908926" y="3633788"/>
              <a:ext cx="0" cy="30163"/>
            </a:xfrm>
            <a:prstGeom prst="line">
              <a:avLst/>
            </a:prstGeom>
            <a:noFill/>
            <a:ln w="15875" cap="rnd">
              <a:solidFill>
                <a:schemeClr val="tx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>
                <a:latin typeface="Georgia" panose="02040502050405020303" pitchFamily="18" charset="0"/>
              </a:endParaRPr>
            </a:p>
          </p:txBody>
        </p:sp>
        <p:sp>
          <p:nvSpPr>
            <p:cNvPr id="50" name="Line 9">
              <a:extLst>
                <a:ext uri="{FF2B5EF4-FFF2-40B4-BE49-F238E27FC236}">
                  <a16:creationId xmlns:a16="http://schemas.microsoft.com/office/drawing/2014/main" id="{132DD84B-2EF4-4FD2-82ED-2EC80497819D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8027988" y="3786188"/>
              <a:ext cx="30163" cy="0"/>
            </a:xfrm>
            <a:prstGeom prst="line">
              <a:avLst/>
            </a:prstGeom>
            <a:noFill/>
            <a:ln w="15875" cap="rnd">
              <a:solidFill>
                <a:schemeClr val="tx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>
                <a:latin typeface="Georgia" panose="02040502050405020303" pitchFamily="18" charset="0"/>
              </a:endParaRPr>
            </a:p>
          </p:txBody>
        </p:sp>
        <p:sp>
          <p:nvSpPr>
            <p:cNvPr id="51" name="Line 10">
              <a:extLst>
                <a:ext uri="{FF2B5EF4-FFF2-40B4-BE49-F238E27FC236}">
                  <a16:creationId xmlns:a16="http://schemas.microsoft.com/office/drawing/2014/main" id="{7503BDC6-E14A-4F16-A015-6C5308CBC99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758113" y="3786188"/>
              <a:ext cx="30163" cy="0"/>
            </a:xfrm>
            <a:prstGeom prst="line">
              <a:avLst/>
            </a:prstGeom>
            <a:noFill/>
            <a:ln w="15875" cap="rnd">
              <a:solidFill>
                <a:schemeClr val="tx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>
                <a:latin typeface="Georgia" panose="02040502050405020303" pitchFamily="18" charset="0"/>
              </a:endParaRPr>
            </a:p>
          </p:txBody>
        </p:sp>
        <p:sp>
          <p:nvSpPr>
            <p:cNvPr id="52" name="Line 11">
              <a:extLst>
                <a:ext uri="{FF2B5EF4-FFF2-40B4-BE49-F238E27FC236}">
                  <a16:creationId xmlns:a16="http://schemas.microsoft.com/office/drawing/2014/main" id="{1EB7039C-D78F-48C1-892E-C60E1B3E10C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791451" y="3668713"/>
              <a:ext cx="30163" cy="30163"/>
            </a:xfrm>
            <a:prstGeom prst="line">
              <a:avLst/>
            </a:prstGeom>
            <a:noFill/>
            <a:ln w="15875" cap="rnd">
              <a:solidFill>
                <a:schemeClr val="tx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>
                <a:latin typeface="Georgia" panose="02040502050405020303" pitchFamily="18" charset="0"/>
              </a:endParaRPr>
            </a:p>
          </p:txBody>
        </p:sp>
        <p:sp>
          <p:nvSpPr>
            <p:cNvPr id="53" name="Line 12">
              <a:extLst>
                <a:ext uri="{FF2B5EF4-FFF2-40B4-BE49-F238E27FC236}">
                  <a16:creationId xmlns:a16="http://schemas.microsoft.com/office/drawing/2014/main" id="{A88304E9-BB28-4FDD-82D3-750DD66B3EEC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7994651" y="3668713"/>
              <a:ext cx="30163" cy="30163"/>
            </a:xfrm>
            <a:prstGeom prst="line">
              <a:avLst/>
            </a:prstGeom>
            <a:noFill/>
            <a:ln w="15875" cap="rnd">
              <a:solidFill>
                <a:schemeClr val="tx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>
                <a:latin typeface="Georgia" panose="02040502050405020303" pitchFamily="18" charset="0"/>
              </a:endParaRPr>
            </a:p>
          </p:txBody>
        </p:sp>
      </p:grpSp>
      <p:grpSp>
        <p:nvGrpSpPr>
          <p:cNvPr id="54" name="Group 53">
            <a:extLst>
              <a:ext uri="{FF2B5EF4-FFF2-40B4-BE49-F238E27FC236}">
                <a16:creationId xmlns:a16="http://schemas.microsoft.com/office/drawing/2014/main" id="{5718ABA9-3D76-4EE3-9293-63EE5E1423E8}"/>
              </a:ext>
            </a:extLst>
          </p:cNvPr>
          <p:cNvGrpSpPr/>
          <p:nvPr/>
        </p:nvGrpSpPr>
        <p:grpSpPr>
          <a:xfrm>
            <a:off x="2623420" y="5045408"/>
            <a:ext cx="245341" cy="245341"/>
            <a:chOff x="4119563" y="2171701"/>
            <a:chExt cx="346075" cy="346075"/>
          </a:xfrm>
        </p:grpSpPr>
        <p:sp>
          <p:nvSpPr>
            <p:cNvPr id="55" name="Freeform 307">
              <a:extLst>
                <a:ext uri="{FF2B5EF4-FFF2-40B4-BE49-F238E27FC236}">
                  <a16:creationId xmlns:a16="http://schemas.microsoft.com/office/drawing/2014/main" id="{D1E575E9-F011-4E92-844D-75E96246BCBB}"/>
                </a:ext>
              </a:extLst>
            </p:cNvPr>
            <p:cNvSpPr>
              <a:spLocks/>
            </p:cNvSpPr>
            <p:nvPr/>
          </p:nvSpPr>
          <p:spPr bwMode="auto">
            <a:xfrm>
              <a:off x="4300538" y="2352676"/>
              <a:ext cx="165100" cy="165100"/>
            </a:xfrm>
            <a:custGeom>
              <a:avLst/>
              <a:gdLst>
                <a:gd name="T0" fmla="*/ 33 w 104"/>
                <a:gd name="T1" fmla="*/ 95 h 104"/>
                <a:gd name="T2" fmla="*/ 0 w 104"/>
                <a:gd name="T3" fmla="*/ 104 h 104"/>
                <a:gd name="T4" fmla="*/ 9 w 104"/>
                <a:gd name="T5" fmla="*/ 71 h 104"/>
                <a:gd name="T6" fmla="*/ 80 w 104"/>
                <a:gd name="T7" fmla="*/ 0 h 104"/>
                <a:gd name="T8" fmla="*/ 104 w 104"/>
                <a:gd name="T9" fmla="*/ 23 h 104"/>
                <a:gd name="T10" fmla="*/ 33 w 104"/>
                <a:gd name="T11" fmla="*/ 95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4" h="104">
                  <a:moveTo>
                    <a:pt x="33" y="95"/>
                  </a:moveTo>
                  <a:lnTo>
                    <a:pt x="0" y="104"/>
                  </a:lnTo>
                  <a:lnTo>
                    <a:pt x="9" y="71"/>
                  </a:lnTo>
                  <a:lnTo>
                    <a:pt x="80" y="0"/>
                  </a:lnTo>
                  <a:lnTo>
                    <a:pt x="104" y="23"/>
                  </a:lnTo>
                  <a:lnTo>
                    <a:pt x="33" y="95"/>
                  </a:lnTo>
                  <a:close/>
                </a:path>
              </a:pathLst>
            </a:custGeom>
            <a:noFill/>
            <a:ln w="12700" cap="rnd">
              <a:solidFill>
                <a:schemeClr val="tx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>
                <a:latin typeface="Georgia" panose="02040502050405020303" pitchFamily="18" charset="0"/>
              </a:endParaRPr>
            </a:p>
          </p:txBody>
        </p:sp>
        <p:sp>
          <p:nvSpPr>
            <p:cNvPr id="56" name="Line 308">
              <a:extLst>
                <a:ext uri="{FF2B5EF4-FFF2-40B4-BE49-F238E27FC236}">
                  <a16:creationId xmlns:a16="http://schemas.microsoft.com/office/drawing/2014/main" id="{C1D616B6-49C2-4A60-ACDC-DAD30A4A745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398963" y="2382838"/>
              <a:ext cx="36513" cy="36513"/>
            </a:xfrm>
            <a:prstGeom prst="line">
              <a:avLst/>
            </a:prstGeom>
            <a:noFill/>
            <a:ln w="12700" cap="flat">
              <a:solidFill>
                <a:schemeClr val="tx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>
                <a:latin typeface="Georgia" panose="02040502050405020303" pitchFamily="18" charset="0"/>
              </a:endParaRPr>
            </a:p>
          </p:txBody>
        </p:sp>
        <p:sp>
          <p:nvSpPr>
            <p:cNvPr id="57" name="Line 309">
              <a:extLst>
                <a:ext uri="{FF2B5EF4-FFF2-40B4-BE49-F238E27FC236}">
                  <a16:creationId xmlns:a16="http://schemas.microsoft.com/office/drawing/2014/main" id="{5B9A95C6-0B3C-4A5E-B068-BA5E0B9A1D5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314825" y="2465388"/>
              <a:ext cx="38100" cy="38100"/>
            </a:xfrm>
            <a:prstGeom prst="line">
              <a:avLst/>
            </a:prstGeom>
            <a:noFill/>
            <a:ln w="12700" cap="rnd">
              <a:solidFill>
                <a:schemeClr val="tx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>
                <a:latin typeface="Georgia" panose="02040502050405020303" pitchFamily="18" charset="0"/>
              </a:endParaRPr>
            </a:p>
          </p:txBody>
        </p:sp>
        <p:sp>
          <p:nvSpPr>
            <p:cNvPr id="58" name="Line 310">
              <a:extLst>
                <a:ext uri="{FF2B5EF4-FFF2-40B4-BE49-F238E27FC236}">
                  <a16:creationId xmlns:a16="http://schemas.microsoft.com/office/drawing/2014/main" id="{0C3048F9-BFB9-4309-9DAC-E2D7FC81E40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248150" y="2322513"/>
              <a:ext cx="60325" cy="0"/>
            </a:xfrm>
            <a:prstGeom prst="line">
              <a:avLst/>
            </a:prstGeom>
            <a:noFill/>
            <a:ln w="12700" cap="rnd">
              <a:solidFill>
                <a:schemeClr val="tx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>
                <a:latin typeface="Georgia" panose="02040502050405020303" pitchFamily="18" charset="0"/>
              </a:endParaRPr>
            </a:p>
          </p:txBody>
        </p:sp>
        <p:sp>
          <p:nvSpPr>
            <p:cNvPr id="59" name="Line 311">
              <a:extLst>
                <a:ext uri="{FF2B5EF4-FFF2-40B4-BE49-F238E27FC236}">
                  <a16:creationId xmlns:a16="http://schemas.microsoft.com/office/drawing/2014/main" id="{229357A2-2389-4A0E-ACD3-38E00DC573B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248150" y="2382838"/>
              <a:ext cx="60325" cy="0"/>
            </a:xfrm>
            <a:prstGeom prst="line">
              <a:avLst/>
            </a:prstGeom>
            <a:noFill/>
            <a:ln w="12700" cap="rnd">
              <a:solidFill>
                <a:schemeClr val="tx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>
                <a:latin typeface="Georgia" panose="02040502050405020303" pitchFamily="18" charset="0"/>
              </a:endParaRPr>
            </a:p>
          </p:txBody>
        </p:sp>
        <p:sp>
          <p:nvSpPr>
            <p:cNvPr id="60" name="Freeform 312">
              <a:extLst>
                <a:ext uri="{FF2B5EF4-FFF2-40B4-BE49-F238E27FC236}">
                  <a16:creationId xmlns:a16="http://schemas.microsoft.com/office/drawing/2014/main" id="{0E431BB2-51D7-4719-88C1-876287A2F551}"/>
                </a:ext>
              </a:extLst>
            </p:cNvPr>
            <p:cNvSpPr>
              <a:spLocks/>
            </p:cNvSpPr>
            <p:nvPr/>
          </p:nvSpPr>
          <p:spPr bwMode="auto">
            <a:xfrm>
              <a:off x="4165600" y="2292351"/>
              <a:ext cx="60325" cy="36513"/>
            </a:xfrm>
            <a:custGeom>
              <a:avLst/>
              <a:gdLst>
                <a:gd name="T0" fmla="*/ 38 w 38"/>
                <a:gd name="T1" fmla="*/ 0 h 23"/>
                <a:gd name="T2" fmla="*/ 14 w 38"/>
                <a:gd name="T3" fmla="*/ 23 h 23"/>
                <a:gd name="T4" fmla="*/ 0 w 38"/>
                <a:gd name="T5" fmla="*/ 9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8" h="23">
                  <a:moveTo>
                    <a:pt x="38" y="0"/>
                  </a:moveTo>
                  <a:lnTo>
                    <a:pt x="14" y="23"/>
                  </a:lnTo>
                  <a:lnTo>
                    <a:pt x="0" y="9"/>
                  </a:lnTo>
                </a:path>
              </a:pathLst>
            </a:custGeom>
            <a:noFill/>
            <a:ln w="12700" cap="rnd">
              <a:solidFill>
                <a:schemeClr val="tx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>
                <a:latin typeface="Georgia" panose="02040502050405020303" pitchFamily="18" charset="0"/>
              </a:endParaRPr>
            </a:p>
          </p:txBody>
        </p:sp>
        <p:sp>
          <p:nvSpPr>
            <p:cNvPr id="61" name="Freeform 313">
              <a:extLst>
                <a:ext uri="{FF2B5EF4-FFF2-40B4-BE49-F238E27FC236}">
                  <a16:creationId xmlns:a16="http://schemas.microsoft.com/office/drawing/2014/main" id="{D46A9084-7FF8-4DC2-92F3-4F19089A2D8F}"/>
                </a:ext>
              </a:extLst>
            </p:cNvPr>
            <p:cNvSpPr>
              <a:spLocks/>
            </p:cNvSpPr>
            <p:nvPr/>
          </p:nvSpPr>
          <p:spPr bwMode="auto">
            <a:xfrm>
              <a:off x="4165600" y="2352676"/>
              <a:ext cx="60325" cy="36513"/>
            </a:xfrm>
            <a:custGeom>
              <a:avLst/>
              <a:gdLst>
                <a:gd name="T0" fmla="*/ 38 w 38"/>
                <a:gd name="T1" fmla="*/ 0 h 23"/>
                <a:gd name="T2" fmla="*/ 14 w 38"/>
                <a:gd name="T3" fmla="*/ 23 h 23"/>
                <a:gd name="T4" fmla="*/ 0 w 38"/>
                <a:gd name="T5" fmla="*/ 9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8" h="23">
                  <a:moveTo>
                    <a:pt x="38" y="0"/>
                  </a:moveTo>
                  <a:lnTo>
                    <a:pt x="14" y="23"/>
                  </a:lnTo>
                  <a:lnTo>
                    <a:pt x="0" y="9"/>
                  </a:lnTo>
                </a:path>
              </a:pathLst>
            </a:custGeom>
            <a:noFill/>
            <a:ln w="12700" cap="rnd">
              <a:solidFill>
                <a:schemeClr val="tx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>
                <a:latin typeface="Georgia" panose="02040502050405020303" pitchFamily="18" charset="0"/>
              </a:endParaRPr>
            </a:p>
          </p:txBody>
        </p:sp>
        <p:sp>
          <p:nvSpPr>
            <p:cNvPr id="62" name="Freeform 314">
              <a:extLst>
                <a:ext uri="{FF2B5EF4-FFF2-40B4-BE49-F238E27FC236}">
                  <a16:creationId xmlns:a16="http://schemas.microsoft.com/office/drawing/2014/main" id="{E6806440-D255-4DA4-899E-4E7DE65A28B0}"/>
                </a:ext>
              </a:extLst>
            </p:cNvPr>
            <p:cNvSpPr>
              <a:spLocks/>
            </p:cNvSpPr>
            <p:nvPr/>
          </p:nvSpPr>
          <p:spPr bwMode="auto">
            <a:xfrm>
              <a:off x="4119563" y="2171701"/>
              <a:ext cx="241300" cy="315913"/>
            </a:xfrm>
            <a:custGeom>
              <a:avLst/>
              <a:gdLst>
                <a:gd name="T0" fmla="*/ 81 w 152"/>
                <a:gd name="T1" fmla="*/ 199 h 199"/>
                <a:gd name="T2" fmla="*/ 0 w 152"/>
                <a:gd name="T3" fmla="*/ 199 h 199"/>
                <a:gd name="T4" fmla="*/ 0 w 152"/>
                <a:gd name="T5" fmla="*/ 0 h 199"/>
                <a:gd name="T6" fmla="*/ 105 w 152"/>
                <a:gd name="T7" fmla="*/ 0 h 199"/>
                <a:gd name="T8" fmla="*/ 152 w 152"/>
                <a:gd name="T9" fmla="*/ 47 h 199"/>
                <a:gd name="T10" fmla="*/ 152 w 152"/>
                <a:gd name="T11" fmla="*/ 118 h 1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52" h="199">
                  <a:moveTo>
                    <a:pt x="81" y="199"/>
                  </a:moveTo>
                  <a:lnTo>
                    <a:pt x="0" y="199"/>
                  </a:lnTo>
                  <a:lnTo>
                    <a:pt x="0" y="0"/>
                  </a:lnTo>
                  <a:lnTo>
                    <a:pt x="105" y="0"/>
                  </a:lnTo>
                  <a:lnTo>
                    <a:pt x="152" y="47"/>
                  </a:lnTo>
                  <a:lnTo>
                    <a:pt x="152" y="118"/>
                  </a:lnTo>
                </a:path>
              </a:pathLst>
            </a:custGeom>
            <a:noFill/>
            <a:ln w="12700" cap="flat">
              <a:solidFill>
                <a:schemeClr val="tx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>
                <a:latin typeface="Georgia" panose="02040502050405020303" pitchFamily="18" charset="0"/>
              </a:endParaRPr>
            </a:p>
          </p:txBody>
        </p:sp>
        <p:sp>
          <p:nvSpPr>
            <p:cNvPr id="63" name="Freeform 315">
              <a:extLst>
                <a:ext uri="{FF2B5EF4-FFF2-40B4-BE49-F238E27FC236}">
                  <a16:creationId xmlns:a16="http://schemas.microsoft.com/office/drawing/2014/main" id="{F7575DD7-39DD-4A94-BE0E-8927F329AFBE}"/>
                </a:ext>
              </a:extLst>
            </p:cNvPr>
            <p:cNvSpPr>
              <a:spLocks/>
            </p:cNvSpPr>
            <p:nvPr/>
          </p:nvSpPr>
          <p:spPr bwMode="auto">
            <a:xfrm>
              <a:off x="4286250" y="2171701"/>
              <a:ext cx="74613" cy="74613"/>
            </a:xfrm>
            <a:custGeom>
              <a:avLst/>
              <a:gdLst>
                <a:gd name="T0" fmla="*/ 0 w 47"/>
                <a:gd name="T1" fmla="*/ 0 h 47"/>
                <a:gd name="T2" fmla="*/ 0 w 47"/>
                <a:gd name="T3" fmla="*/ 47 h 47"/>
                <a:gd name="T4" fmla="*/ 47 w 47"/>
                <a:gd name="T5" fmla="*/ 47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7" h="47">
                  <a:moveTo>
                    <a:pt x="0" y="0"/>
                  </a:moveTo>
                  <a:lnTo>
                    <a:pt x="0" y="47"/>
                  </a:lnTo>
                  <a:lnTo>
                    <a:pt x="47" y="47"/>
                  </a:lnTo>
                </a:path>
              </a:pathLst>
            </a:custGeom>
            <a:noFill/>
            <a:ln w="12700" cap="rnd">
              <a:solidFill>
                <a:schemeClr val="tx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>
                <a:latin typeface="Georgia" panose="02040502050405020303" pitchFamily="18" charset="0"/>
              </a:endParaRPr>
            </a:p>
          </p:txBody>
        </p:sp>
      </p:grpSp>
      <p:grpSp>
        <p:nvGrpSpPr>
          <p:cNvPr id="64" name="Group 63">
            <a:extLst>
              <a:ext uri="{FF2B5EF4-FFF2-40B4-BE49-F238E27FC236}">
                <a16:creationId xmlns:a16="http://schemas.microsoft.com/office/drawing/2014/main" id="{AD9ECE85-2CAB-4697-8E2B-2C528BC412A4}"/>
              </a:ext>
            </a:extLst>
          </p:cNvPr>
          <p:cNvGrpSpPr/>
          <p:nvPr/>
        </p:nvGrpSpPr>
        <p:grpSpPr>
          <a:xfrm>
            <a:off x="2581033" y="1888167"/>
            <a:ext cx="267207" cy="233960"/>
            <a:chOff x="7005638" y="1465265"/>
            <a:chExt cx="344488" cy="301625"/>
          </a:xfrm>
        </p:grpSpPr>
        <p:sp>
          <p:nvSpPr>
            <p:cNvPr id="65" name="Freeform 233">
              <a:extLst>
                <a:ext uri="{FF2B5EF4-FFF2-40B4-BE49-F238E27FC236}">
                  <a16:creationId xmlns:a16="http://schemas.microsoft.com/office/drawing/2014/main" id="{2FE4C456-9C79-4499-BCF4-92EC23BF7733}"/>
                </a:ext>
              </a:extLst>
            </p:cNvPr>
            <p:cNvSpPr>
              <a:spLocks/>
            </p:cNvSpPr>
            <p:nvPr/>
          </p:nvSpPr>
          <p:spPr bwMode="auto">
            <a:xfrm>
              <a:off x="7005638" y="1465265"/>
              <a:ext cx="344488" cy="301625"/>
            </a:xfrm>
            <a:custGeom>
              <a:avLst/>
              <a:gdLst>
                <a:gd name="T0" fmla="*/ 46 w 92"/>
                <a:gd name="T1" fmla="*/ 14 h 80"/>
                <a:gd name="T2" fmla="*/ 92 w 92"/>
                <a:gd name="T3" fmla="*/ 0 h 80"/>
                <a:gd name="T4" fmla="*/ 92 w 92"/>
                <a:gd name="T5" fmla="*/ 66 h 80"/>
                <a:gd name="T6" fmla="*/ 46 w 92"/>
                <a:gd name="T7" fmla="*/ 80 h 80"/>
                <a:gd name="T8" fmla="*/ 0 w 92"/>
                <a:gd name="T9" fmla="*/ 66 h 80"/>
                <a:gd name="T10" fmla="*/ 0 w 92"/>
                <a:gd name="T11" fmla="*/ 0 h 80"/>
                <a:gd name="T12" fmla="*/ 46 w 92"/>
                <a:gd name="T13" fmla="*/ 14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2" h="80">
                  <a:moveTo>
                    <a:pt x="46" y="14"/>
                  </a:moveTo>
                  <a:cubicBezTo>
                    <a:pt x="46" y="6"/>
                    <a:pt x="67" y="0"/>
                    <a:pt x="92" y="0"/>
                  </a:cubicBezTo>
                  <a:cubicBezTo>
                    <a:pt x="92" y="66"/>
                    <a:pt x="92" y="66"/>
                    <a:pt x="92" y="66"/>
                  </a:cubicBezTo>
                  <a:cubicBezTo>
                    <a:pt x="67" y="66"/>
                    <a:pt x="46" y="72"/>
                    <a:pt x="46" y="80"/>
                  </a:cubicBezTo>
                  <a:cubicBezTo>
                    <a:pt x="46" y="72"/>
                    <a:pt x="25" y="66"/>
                    <a:pt x="0" y="6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5" y="0"/>
                    <a:pt x="46" y="6"/>
                    <a:pt x="46" y="14"/>
                  </a:cubicBezTo>
                  <a:close/>
                </a:path>
              </a:pathLst>
            </a:custGeom>
            <a:noFill/>
            <a:ln w="12700" cap="rnd">
              <a:solidFill>
                <a:schemeClr val="tx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>
                <a:latin typeface="Georgia" panose="02040502050405020303" pitchFamily="18" charset="0"/>
              </a:endParaRPr>
            </a:p>
          </p:txBody>
        </p:sp>
        <p:sp>
          <p:nvSpPr>
            <p:cNvPr id="66" name="Line 234">
              <a:extLst>
                <a:ext uri="{FF2B5EF4-FFF2-40B4-BE49-F238E27FC236}">
                  <a16:creationId xmlns:a16="http://schemas.microsoft.com/office/drawing/2014/main" id="{BDD53505-E719-4B94-98AC-886256C9244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178675" y="1517651"/>
              <a:ext cx="0" cy="244476"/>
            </a:xfrm>
            <a:prstGeom prst="line">
              <a:avLst/>
            </a:prstGeom>
            <a:noFill/>
            <a:ln w="12700" cap="rnd">
              <a:solidFill>
                <a:schemeClr val="tx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>
                <a:latin typeface="Georgia" panose="02040502050405020303" pitchFamily="18" charset="0"/>
              </a:endParaRPr>
            </a:p>
          </p:txBody>
        </p:sp>
        <p:sp>
          <p:nvSpPr>
            <p:cNvPr id="67" name="Freeform 235">
              <a:extLst>
                <a:ext uri="{FF2B5EF4-FFF2-40B4-BE49-F238E27FC236}">
                  <a16:creationId xmlns:a16="http://schemas.microsoft.com/office/drawing/2014/main" id="{CB4F5BEA-99AF-4807-8223-FF56C8721900}"/>
                </a:ext>
              </a:extLst>
            </p:cNvPr>
            <p:cNvSpPr>
              <a:spLocks/>
            </p:cNvSpPr>
            <p:nvPr/>
          </p:nvSpPr>
          <p:spPr bwMode="auto">
            <a:xfrm>
              <a:off x="7042150" y="1533526"/>
              <a:ext cx="98425" cy="19050"/>
            </a:xfrm>
            <a:custGeom>
              <a:avLst/>
              <a:gdLst>
                <a:gd name="T0" fmla="*/ 26 w 26"/>
                <a:gd name="T1" fmla="*/ 5 h 5"/>
                <a:gd name="T2" fmla="*/ 0 w 26"/>
                <a:gd name="T3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26" h="5">
                  <a:moveTo>
                    <a:pt x="26" y="5"/>
                  </a:moveTo>
                  <a:cubicBezTo>
                    <a:pt x="20" y="2"/>
                    <a:pt x="10" y="1"/>
                    <a:pt x="0" y="0"/>
                  </a:cubicBezTo>
                </a:path>
              </a:pathLst>
            </a:custGeom>
            <a:noFill/>
            <a:ln w="12700" cap="rnd">
              <a:solidFill>
                <a:schemeClr val="tx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>
                <a:latin typeface="Georgia" panose="02040502050405020303" pitchFamily="18" charset="0"/>
              </a:endParaRPr>
            </a:p>
          </p:txBody>
        </p:sp>
        <p:sp>
          <p:nvSpPr>
            <p:cNvPr id="68" name="Freeform 236">
              <a:extLst>
                <a:ext uri="{FF2B5EF4-FFF2-40B4-BE49-F238E27FC236}">
                  <a16:creationId xmlns:a16="http://schemas.microsoft.com/office/drawing/2014/main" id="{2F2F26D3-52EE-4B50-8DBE-D04CED5DB522}"/>
                </a:ext>
              </a:extLst>
            </p:cNvPr>
            <p:cNvSpPr>
              <a:spLocks/>
            </p:cNvSpPr>
            <p:nvPr/>
          </p:nvSpPr>
          <p:spPr bwMode="auto">
            <a:xfrm>
              <a:off x="7042150" y="1577976"/>
              <a:ext cx="98425" cy="19050"/>
            </a:xfrm>
            <a:custGeom>
              <a:avLst/>
              <a:gdLst>
                <a:gd name="T0" fmla="*/ 26 w 26"/>
                <a:gd name="T1" fmla="*/ 5 h 5"/>
                <a:gd name="T2" fmla="*/ 0 w 26"/>
                <a:gd name="T3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26" h="5">
                  <a:moveTo>
                    <a:pt x="26" y="5"/>
                  </a:moveTo>
                  <a:cubicBezTo>
                    <a:pt x="20" y="2"/>
                    <a:pt x="10" y="1"/>
                    <a:pt x="0" y="0"/>
                  </a:cubicBezTo>
                </a:path>
              </a:pathLst>
            </a:custGeom>
            <a:noFill/>
            <a:ln w="12700" cap="rnd">
              <a:solidFill>
                <a:schemeClr val="tx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>
                <a:latin typeface="Georgia" panose="02040502050405020303" pitchFamily="18" charset="0"/>
              </a:endParaRPr>
            </a:p>
          </p:txBody>
        </p:sp>
        <p:sp>
          <p:nvSpPr>
            <p:cNvPr id="69" name="Freeform 237">
              <a:extLst>
                <a:ext uri="{FF2B5EF4-FFF2-40B4-BE49-F238E27FC236}">
                  <a16:creationId xmlns:a16="http://schemas.microsoft.com/office/drawing/2014/main" id="{C5D53D78-022E-43D7-8C89-BA61BDB862B9}"/>
                </a:ext>
              </a:extLst>
            </p:cNvPr>
            <p:cNvSpPr>
              <a:spLocks/>
            </p:cNvSpPr>
            <p:nvPr/>
          </p:nvSpPr>
          <p:spPr bwMode="auto">
            <a:xfrm>
              <a:off x="7042150" y="1624013"/>
              <a:ext cx="98425" cy="19050"/>
            </a:xfrm>
            <a:custGeom>
              <a:avLst/>
              <a:gdLst>
                <a:gd name="T0" fmla="*/ 26 w 26"/>
                <a:gd name="T1" fmla="*/ 5 h 5"/>
                <a:gd name="T2" fmla="*/ 0 w 26"/>
                <a:gd name="T3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26" h="5">
                  <a:moveTo>
                    <a:pt x="26" y="5"/>
                  </a:moveTo>
                  <a:cubicBezTo>
                    <a:pt x="20" y="2"/>
                    <a:pt x="10" y="1"/>
                    <a:pt x="0" y="0"/>
                  </a:cubicBezTo>
                </a:path>
              </a:pathLst>
            </a:custGeom>
            <a:noFill/>
            <a:ln w="12700" cap="rnd">
              <a:solidFill>
                <a:schemeClr val="tx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>
                <a:latin typeface="Georgia" panose="02040502050405020303" pitchFamily="18" charset="0"/>
              </a:endParaRPr>
            </a:p>
          </p:txBody>
        </p:sp>
        <p:sp>
          <p:nvSpPr>
            <p:cNvPr id="70" name="Freeform 238">
              <a:extLst>
                <a:ext uri="{FF2B5EF4-FFF2-40B4-BE49-F238E27FC236}">
                  <a16:creationId xmlns:a16="http://schemas.microsoft.com/office/drawing/2014/main" id="{A931BA15-68C9-4285-AFBC-4302B380F063}"/>
                </a:ext>
              </a:extLst>
            </p:cNvPr>
            <p:cNvSpPr>
              <a:spLocks/>
            </p:cNvSpPr>
            <p:nvPr/>
          </p:nvSpPr>
          <p:spPr bwMode="auto">
            <a:xfrm>
              <a:off x="7042150" y="1668463"/>
              <a:ext cx="98425" cy="19050"/>
            </a:xfrm>
            <a:custGeom>
              <a:avLst/>
              <a:gdLst>
                <a:gd name="T0" fmla="*/ 26 w 26"/>
                <a:gd name="T1" fmla="*/ 5 h 5"/>
                <a:gd name="T2" fmla="*/ 0 w 26"/>
                <a:gd name="T3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26" h="5">
                  <a:moveTo>
                    <a:pt x="26" y="5"/>
                  </a:moveTo>
                  <a:cubicBezTo>
                    <a:pt x="20" y="2"/>
                    <a:pt x="10" y="1"/>
                    <a:pt x="0" y="0"/>
                  </a:cubicBezTo>
                </a:path>
              </a:pathLst>
            </a:custGeom>
            <a:noFill/>
            <a:ln w="12700" cap="rnd">
              <a:solidFill>
                <a:schemeClr val="tx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>
                <a:latin typeface="Georgia" panose="02040502050405020303" pitchFamily="18" charset="0"/>
              </a:endParaRPr>
            </a:p>
          </p:txBody>
        </p:sp>
        <p:sp>
          <p:nvSpPr>
            <p:cNvPr id="71" name="Freeform 239">
              <a:extLst>
                <a:ext uri="{FF2B5EF4-FFF2-40B4-BE49-F238E27FC236}">
                  <a16:creationId xmlns:a16="http://schemas.microsoft.com/office/drawing/2014/main" id="{21FE93E6-A669-4FE4-9ACF-223D2F99B7AF}"/>
                </a:ext>
              </a:extLst>
            </p:cNvPr>
            <p:cNvSpPr>
              <a:spLocks/>
            </p:cNvSpPr>
            <p:nvPr/>
          </p:nvSpPr>
          <p:spPr bwMode="auto">
            <a:xfrm>
              <a:off x="7215188" y="1533526"/>
              <a:ext cx="98425" cy="19050"/>
            </a:xfrm>
            <a:custGeom>
              <a:avLst/>
              <a:gdLst>
                <a:gd name="T0" fmla="*/ 0 w 26"/>
                <a:gd name="T1" fmla="*/ 5 h 5"/>
                <a:gd name="T2" fmla="*/ 26 w 26"/>
                <a:gd name="T3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26" h="5">
                  <a:moveTo>
                    <a:pt x="0" y="5"/>
                  </a:moveTo>
                  <a:cubicBezTo>
                    <a:pt x="6" y="2"/>
                    <a:pt x="16" y="1"/>
                    <a:pt x="26" y="0"/>
                  </a:cubicBezTo>
                </a:path>
              </a:pathLst>
            </a:custGeom>
            <a:noFill/>
            <a:ln w="12700" cap="rnd">
              <a:solidFill>
                <a:schemeClr val="tx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>
                <a:latin typeface="Georgia" panose="02040502050405020303" pitchFamily="18" charset="0"/>
              </a:endParaRPr>
            </a:p>
          </p:txBody>
        </p:sp>
        <p:sp>
          <p:nvSpPr>
            <p:cNvPr id="72" name="Freeform 240">
              <a:extLst>
                <a:ext uri="{FF2B5EF4-FFF2-40B4-BE49-F238E27FC236}">
                  <a16:creationId xmlns:a16="http://schemas.microsoft.com/office/drawing/2014/main" id="{C46216CC-855A-4447-B140-3DA0C2FCDE84}"/>
                </a:ext>
              </a:extLst>
            </p:cNvPr>
            <p:cNvSpPr>
              <a:spLocks/>
            </p:cNvSpPr>
            <p:nvPr/>
          </p:nvSpPr>
          <p:spPr bwMode="auto">
            <a:xfrm>
              <a:off x="7215188" y="1577976"/>
              <a:ext cx="98425" cy="19050"/>
            </a:xfrm>
            <a:custGeom>
              <a:avLst/>
              <a:gdLst>
                <a:gd name="T0" fmla="*/ 0 w 26"/>
                <a:gd name="T1" fmla="*/ 5 h 5"/>
                <a:gd name="T2" fmla="*/ 26 w 26"/>
                <a:gd name="T3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26" h="5">
                  <a:moveTo>
                    <a:pt x="0" y="5"/>
                  </a:moveTo>
                  <a:cubicBezTo>
                    <a:pt x="6" y="2"/>
                    <a:pt x="16" y="1"/>
                    <a:pt x="26" y="0"/>
                  </a:cubicBezTo>
                </a:path>
              </a:pathLst>
            </a:custGeom>
            <a:noFill/>
            <a:ln w="12700" cap="rnd">
              <a:solidFill>
                <a:schemeClr val="tx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>
                <a:latin typeface="Georgia" panose="02040502050405020303" pitchFamily="18" charset="0"/>
              </a:endParaRPr>
            </a:p>
          </p:txBody>
        </p:sp>
        <p:sp>
          <p:nvSpPr>
            <p:cNvPr id="73" name="Freeform 241">
              <a:extLst>
                <a:ext uri="{FF2B5EF4-FFF2-40B4-BE49-F238E27FC236}">
                  <a16:creationId xmlns:a16="http://schemas.microsoft.com/office/drawing/2014/main" id="{3B37B08F-9667-4429-9057-FA5BC9E1DEAF}"/>
                </a:ext>
              </a:extLst>
            </p:cNvPr>
            <p:cNvSpPr>
              <a:spLocks/>
            </p:cNvSpPr>
            <p:nvPr/>
          </p:nvSpPr>
          <p:spPr bwMode="auto">
            <a:xfrm>
              <a:off x="7215188" y="1624013"/>
              <a:ext cx="98425" cy="19050"/>
            </a:xfrm>
            <a:custGeom>
              <a:avLst/>
              <a:gdLst>
                <a:gd name="T0" fmla="*/ 0 w 26"/>
                <a:gd name="T1" fmla="*/ 5 h 5"/>
                <a:gd name="T2" fmla="*/ 26 w 26"/>
                <a:gd name="T3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26" h="5">
                  <a:moveTo>
                    <a:pt x="0" y="5"/>
                  </a:moveTo>
                  <a:cubicBezTo>
                    <a:pt x="6" y="2"/>
                    <a:pt x="16" y="1"/>
                    <a:pt x="26" y="0"/>
                  </a:cubicBezTo>
                </a:path>
              </a:pathLst>
            </a:custGeom>
            <a:noFill/>
            <a:ln w="12700" cap="rnd">
              <a:solidFill>
                <a:schemeClr val="tx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>
                <a:latin typeface="Georgia" panose="02040502050405020303" pitchFamily="18" charset="0"/>
              </a:endParaRPr>
            </a:p>
          </p:txBody>
        </p:sp>
        <p:sp>
          <p:nvSpPr>
            <p:cNvPr id="74" name="Freeform 242">
              <a:extLst>
                <a:ext uri="{FF2B5EF4-FFF2-40B4-BE49-F238E27FC236}">
                  <a16:creationId xmlns:a16="http://schemas.microsoft.com/office/drawing/2014/main" id="{921E200A-FA46-456E-81EB-45224D3911BE}"/>
                </a:ext>
              </a:extLst>
            </p:cNvPr>
            <p:cNvSpPr>
              <a:spLocks/>
            </p:cNvSpPr>
            <p:nvPr/>
          </p:nvSpPr>
          <p:spPr bwMode="auto">
            <a:xfrm>
              <a:off x="7215188" y="1668463"/>
              <a:ext cx="98425" cy="19050"/>
            </a:xfrm>
            <a:custGeom>
              <a:avLst/>
              <a:gdLst>
                <a:gd name="T0" fmla="*/ 0 w 26"/>
                <a:gd name="T1" fmla="*/ 5 h 5"/>
                <a:gd name="T2" fmla="*/ 26 w 26"/>
                <a:gd name="T3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26" h="5">
                  <a:moveTo>
                    <a:pt x="0" y="5"/>
                  </a:moveTo>
                  <a:cubicBezTo>
                    <a:pt x="6" y="2"/>
                    <a:pt x="16" y="1"/>
                    <a:pt x="26" y="0"/>
                  </a:cubicBezTo>
                </a:path>
              </a:pathLst>
            </a:custGeom>
            <a:noFill/>
            <a:ln w="12700" cap="rnd">
              <a:solidFill>
                <a:schemeClr val="tx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>
                <a:latin typeface="Georgia" panose="02040502050405020303" pitchFamily="18" charset="0"/>
              </a:endParaRPr>
            </a:p>
          </p:txBody>
        </p:sp>
      </p:grpSp>
      <p:grpSp>
        <p:nvGrpSpPr>
          <p:cNvPr id="75" name="Group 74">
            <a:extLst>
              <a:ext uri="{FF2B5EF4-FFF2-40B4-BE49-F238E27FC236}">
                <a16:creationId xmlns:a16="http://schemas.microsoft.com/office/drawing/2014/main" id="{964A70E8-A66F-4AD3-937C-086DC20A9A78}"/>
              </a:ext>
            </a:extLst>
          </p:cNvPr>
          <p:cNvGrpSpPr/>
          <p:nvPr/>
        </p:nvGrpSpPr>
        <p:grpSpPr>
          <a:xfrm>
            <a:off x="7821973" y="3396228"/>
            <a:ext cx="346075" cy="346075"/>
            <a:chOff x="3398838" y="3979863"/>
            <a:chExt cx="346075" cy="346075"/>
          </a:xfrm>
        </p:grpSpPr>
        <p:sp>
          <p:nvSpPr>
            <p:cNvPr id="76" name="Oval 75">
              <a:extLst>
                <a:ext uri="{FF2B5EF4-FFF2-40B4-BE49-F238E27FC236}">
                  <a16:creationId xmlns:a16="http://schemas.microsoft.com/office/drawing/2014/main" id="{4E5AC4AA-CEE2-4E81-9A75-99411EA50BA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98838" y="3979863"/>
              <a:ext cx="300038" cy="301625"/>
            </a:xfrm>
            <a:prstGeom prst="ellipse">
              <a:avLst/>
            </a:prstGeom>
            <a:noFill/>
            <a:ln w="15875" cap="rnd">
              <a:solidFill>
                <a:schemeClr val="tx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>
                <a:latin typeface="Georgia" panose="02040502050405020303" pitchFamily="18" charset="0"/>
              </a:endParaRPr>
            </a:p>
          </p:txBody>
        </p:sp>
        <p:sp>
          <p:nvSpPr>
            <p:cNvPr id="77" name="Line 126">
              <a:extLst>
                <a:ext uri="{FF2B5EF4-FFF2-40B4-BE49-F238E27FC236}">
                  <a16:creationId xmlns:a16="http://schemas.microsoft.com/office/drawing/2014/main" id="{24AC9191-F78D-4856-AED2-EB6E969CAF7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654425" y="4235450"/>
              <a:ext cx="90488" cy="90488"/>
            </a:xfrm>
            <a:prstGeom prst="line">
              <a:avLst/>
            </a:prstGeom>
            <a:noFill/>
            <a:ln w="15875" cap="rnd">
              <a:solidFill>
                <a:schemeClr val="tx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>
                <a:latin typeface="Georgia" panose="02040502050405020303" pitchFamily="18" charset="0"/>
              </a:endParaRPr>
            </a:p>
          </p:txBody>
        </p:sp>
        <p:sp>
          <p:nvSpPr>
            <p:cNvPr id="78" name="Freeform 127">
              <a:extLst>
                <a:ext uri="{FF2B5EF4-FFF2-40B4-BE49-F238E27FC236}">
                  <a16:creationId xmlns:a16="http://schemas.microsoft.com/office/drawing/2014/main" id="{1BD2CED8-5745-405F-8048-06F1DDCE9F90}"/>
                </a:ext>
              </a:extLst>
            </p:cNvPr>
            <p:cNvSpPr>
              <a:spLocks/>
            </p:cNvSpPr>
            <p:nvPr/>
          </p:nvSpPr>
          <p:spPr bwMode="auto">
            <a:xfrm>
              <a:off x="3451225" y="4032250"/>
              <a:ext cx="195263" cy="196850"/>
            </a:xfrm>
            <a:custGeom>
              <a:avLst/>
              <a:gdLst>
                <a:gd name="T0" fmla="*/ 46 w 52"/>
                <a:gd name="T1" fmla="*/ 44 h 52"/>
                <a:gd name="T2" fmla="*/ 52 w 52"/>
                <a:gd name="T3" fmla="*/ 34 h 52"/>
                <a:gd name="T4" fmla="*/ 46 w 52"/>
                <a:gd name="T5" fmla="*/ 30 h 52"/>
                <a:gd name="T6" fmla="*/ 46 w 52"/>
                <a:gd name="T7" fmla="*/ 22 h 52"/>
                <a:gd name="T8" fmla="*/ 52 w 52"/>
                <a:gd name="T9" fmla="*/ 18 h 52"/>
                <a:gd name="T10" fmla="*/ 46 w 52"/>
                <a:gd name="T11" fmla="*/ 8 h 52"/>
                <a:gd name="T12" fmla="*/ 40 w 52"/>
                <a:gd name="T13" fmla="*/ 11 h 52"/>
                <a:gd name="T14" fmla="*/ 32 w 52"/>
                <a:gd name="T15" fmla="*/ 7 h 52"/>
                <a:gd name="T16" fmla="*/ 32 w 52"/>
                <a:gd name="T17" fmla="*/ 0 h 52"/>
                <a:gd name="T18" fmla="*/ 20 w 52"/>
                <a:gd name="T19" fmla="*/ 0 h 52"/>
                <a:gd name="T20" fmla="*/ 20 w 52"/>
                <a:gd name="T21" fmla="*/ 7 h 52"/>
                <a:gd name="T22" fmla="*/ 13 w 52"/>
                <a:gd name="T23" fmla="*/ 11 h 52"/>
                <a:gd name="T24" fmla="*/ 7 w 52"/>
                <a:gd name="T25" fmla="*/ 8 h 52"/>
                <a:gd name="T26" fmla="*/ 1 w 52"/>
                <a:gd name="T27" fmla="*/ 18 h 52"/>
                <a:gd name="T28" fmla="*/ 7 w 52"/>
                <a:gd name="T29" fmla="*/ 22 h 52"/>
                <a:gd name="T30" fmla="*/ 6 w 52"/>
                <a:gd name="T31" fmla="*/ 30 h 52"/>
                <a:gd name="T32" fmla="*/ 0 w 52"/>
                <a:gd name="T33" fmla="*/ 34 h 52"/>
                <a:gd name="T34" fmla="*/ 6 w 52"/>
                <a:gd name="T35" fmla="*/ 44 h 52"/>
                <a:gd name="T36" fmla="*/ 13 w 52"/>
                <a:gd name="T37" fmla="*/ 41 h 52"/>
                <a:gd name="T38" fmla="*/ 20 w 52"/>
                <a:gd name="T39" fmla="*/ 45 h 52"/>
                <a:gd name="T40" fmla="*/ 20 w 52"/>
                <a:gd name="T41" fmla="*/ 52 h 52"/>
                <a:gd name="T42" fmla="*/ 32 w 52"/>
                <a:gd name="T43" fmla="*/ 52 h 52"/>
                <a:gd name="T44" fmla="*/ 32 w 52"/>
                <a:gd name="T45" fmla="*/ 45 h 52"/>
                <a:gd name="T46" fmla="*/ 40 w 52"/>
                <a:gd name="T47" fmla="*/ 41 h 52"/>
                <a:gd name="T48" fmla="*/ 46 w 52"/>
                <a:gd name="T49" fmla="*/ 44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52" h="52">
                  <a:moveTo>
                    <a:pt x="46" y="44"/>
                  </a:moveTo>
                  <a:cubicBezTo>
                    <a:pt x="52" y="34"/>
                    <a:pt x="52" y="34"/>
                    <a:pt x="52" y="34"/>
                  </a:cubicBezTo>
                  <a:cubicBezTo>
                    <a:pt x="46" y="30"/>
                    <a:pt x="46" y="30"/>
                    <a:pt x="46" y="30"/>
                  </a:cubicBezTo>
                  <a:cubicBezTo>
                    <a:pt x="46" y="28"/>
                    <a:pt x="46" y="25"/>
                    <a:pt x="46" y="22"/>
                  </a:cubicBezTo>
                  <a:cubicBezTo>
                    <a:pt x="52" y="18"/>
                    <a:pt x="52" y="18"/>
                    <a:pt x="52" y="18"/>
                  </a:cubicBezTo>
                  <a:cubicBezTo>
                    <a:pt x="46" y="8"/>
                    <a:pt x="46" y="8"/>
                    <a:pt x="46" y="8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38" y="9"/>
                    <a:pt x="34" y="8"/>
                    <a:pt x="32" y="7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20" y="7"/>
                    <a:pt x="20" y="7"/>
                    <a:pt x="20" y="7"/>
                  </a:cubicBezTo>
                  <a:cubicBezTo>
                    <a:pt x="16" y="8"/>
                    <a:pt x="15" y="9"/>
                    <a:pt x="13" y="11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1" y="18"/>
                    <a:pt x="1" y="18"/>
                    <a:pt x="1" y="18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6" y="24"/>
                    <a:pt x="6" y="27"/>
                    <a:pt x="6" y="30"/>
                  </a:cubicBezTo>
                  <a:cubicBezTo>
                    <a:pt x="0" y="34"/>
                    <a:pt x="0" y="34"/>
                    <a:pt x="0" y="34"/>
                  </a:cubicBezTo>
                  <a:cubicBezTo>
                    <a:pt x="6" y="44"/>
                    <a:pt x="6" y="44"/>
                    <a:pt x="6" y="44"/>
                  </a:cubicBezTo>
                  <a:cubicBezTo>
                    <a:pt x="13" y="41"/>
                    <a:pt x="13" y="41"/>
                    <a:pt x="13" y="41"/>
                  </a:cubicBezTo>
                  <a:cubicBezTo>
                    <a:pt x="15" y="43"/>
                    <a:pt x="16" y="44"/>
                    <a:pt x="20" y="45"/>
                  </a:cubicBezTo>
                  <a:cubicBezTo>
                    <a:pt x="20" y="52"/>
                    <a:pt x="20" y="52"/>
                    <a:pt x="20" y="52"/>
                  </a:cubicBezTo>
                  <a:cubicBezTo>
                    <a:pt x="32" y="52"/>
                    <a:pt x="32" y="52"/>
                    <a:pt x="32" y="52"/>
                  </a:cubicBezTo>
                  <a:cubicBezTo>
                    <a:pt x="32" y="45"/>
                    <a:pt x="32" y="45"/>
                    <a:pt x="32" y="45"/>
                  </a:cubicBezTo>
                  <a:cubicBezTo>
                    <a:pt x="34" y="44"/>
                    <a:pt x="38" y="43"/>
                    <a:pt x="40" y="41"/>
                  </a:cubicBezTo>
                  <a:lnTo>
                    <a:pt x="46" y="44"/>
                  </a:lnTo>
                  <a:close/>
                </a:path>
              </a:pathLst>
            </a:custGeom>
            <a:noFill/>
            <a:ln w="15875" cap="flat">
              <a:solidFill>
                <a:schemeClr val="tx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>
                <a:latin typeface="Georgia" panose="02040502050405020303" pitchFamily="18" charset="0"/>
              </a:endParaRPr>
            </a:p>
          </p:txBody>
        </p:sp>
        <p:sp>
          <p:nvSpPr>
            <p:cNvPr id="79" name="Oval 78">
              <a:extLst>
                <a:ext uri="{FF2B5EF4-FFF2-40B4-BE49-F238E27FC236}">
                  <a16:creationId xmlns:a16="http://schemas.microsoft.com/office/drawing/2014/main" id="{EA2471F1-A50E-48A0-834E-118C89F7847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19488" y="4100513"/>
              <a:ext cx="60325" cy="60325"/>
            </a:xfrm>
            <a:prstGeom prst="ellipse">
              <a:avLst/>
            </a:prstGeom>
            <a:noFill/>
            <a:ln w="15875" cap="flat">
              <a:solidFill>
                <a:schemeClr val="tx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>
                <a:latin typeface="Georgia" panose="02040502050405020303" pitchFamily="18" charset="0"/>
              </a:endParaRPr>
            </a:p>
          </p:txBody>
        </p:sp>
      </p:grpSp>
      <p:grpSp>
        <p:nvGrpSpPr>
          <p:cNvPr id="80" name="Group 79">
            <a:extLst>
              <a:ext uri="{FF2B5EF4-FFF2-40B4-BE49-F238E27FC236}">
                <a16:creationId xmlns:a16="http://schemas.microsoft.com/office/drawing/2014/main" id="{0B353CDD-6260-4D33-843A-1AA4993DBFCB}"/>
              </a:ext>
            </a:extLst>
          </p:cNvPr>
          <p:cNvGrpSpPr/>
          <p:nvPr/>
        </p:nvGrpSpPr>
        <p:grpSpPr>
          <a:xfrm>
            <a:off x="8933839" y="1851996"/>
            <a:ext cx="251769" cy="252929"/>
            <a:chOff x="4841875" y="2895601"/>
            <a:chExt cx="344488" cy="346075"/>
          </a:xfrm>
        </p:grpSpPr>
        <p:sp>
          <p:nvSpPr>
            <p:cNvPr id="81" name="Freeform 258">
              <a:extLst>
                <a:ext uri="{FF2B5EF4-FFF2-40B4-BE49-F238E27FC236}">
                  <a16:creationId xmlns:a16="http://schemas.microsoft.com/office/drawing/2014/main" id="{0B63F3D3-4EA0-4D5E-8C30-DB02A8B677A9}"/>
                </a:ext>
              </a:extLst>
            </p:cNvPr>
            <p:cNvSpPr>
              <a:spLocks/>
            </p:cNvSpPr>
            <p:nvPr/>
          </p:nvSpPr>
          <p:spPr bwMode="auto">
            <a:xfrm>
              <a:off x="4916488" y="2895601"/>
              <a:ext cx="195263" cy="195263"/>
            </a:xfrm>
            <a:custGeom>
              <a:avLst/>
              <a:gdLst>
                <a:gd name="T0" fmla="*/ 52 w 52"/>
                <a:gd name="T1" fmla="*/ 26 h 52"/>
                <a:gd name="T2" fmla="*/ 26 w 52"/>
                <a:gd name="T3" fmla="*/ 52 h 52"/>
                <a:gd name="T4" fmla="*/ 0 w 52"/>
                <a:gd name="T5" fmla="*/ 25 h 52"/>
                <a:gd name="T6" fmla="*/ 25 w 52"/>
                <a:gd name="T7" fmla="*/ 0 h 52"/>
                <a:gd name="T8" fmla="*/ 26 w 52"/>
                <a:gd name="T9" fmla="*/ 0 h 52"/>
                <a:gd name="T10" fmla="*/ 52 w 52"/>
                <a:gd name="T11" fmla="*/ 26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2" h="52">
                  <a:moveTo>
                    <a:pt x="52" y="26"/>
                  </a:moveTo>
                  <a:cubicBezTo>
                    <a:pt x="52" y="40"/>
                    <a:pt x="40" y="52"/>
                    <a:pt x="26" y="52"/>
                  </a:cubicBezTo>
                  <a:cubicBezTo>
                    <a:pt x="12" y="52"/>
                    <a:pt x="0" y="40"/>
                    <a:pt x="0" y="25"/>
                  </a:cubicBezTo>
                  <a:cubicBezTo>
                    <a:pt x="0" y="11"/>
                    <a:pt x="11" y="1"/>
                    <a:pt x="25" y="0"/>
                  </a:cubicBezTo>
                  <a:cubicBezTo>
                    <a:pt x="25" y="0"/>
                    <a:pt x="26" y="0"/>
                    <a:pt x="26" y="0"/>
                  </a:cubicBezTo>
                  <a:cubicBezTo>
                    <a:pt x="40" y="0"/>
                    <a:pt x="52" y="11"/>
                    <a:pt x="52" y="26"/>
                  </a:cubicBezTo>
                  <a:close/>
                </a:path>
              </a:pathLst>
            </a:custGeom>
            <a:noFill/>
            <a:ln w="12700" cap="flat">
              <a:solidFill>
                <a:schemeClr val="tx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>
                <a:latin typeface="Georgia" panose="02040502050405020303" pitchFamily="18" charset="0"/>
              </a:endParaRPr>
            </a:p>
          </p:txBody>
        </p:sp>
        <p:sp>
          <p:nvSpPr>
            <p:cNvPr id="82" name="Freeform 259">
              <a:extLst>
                <a:ext uri="{FF2B5EF4-FFF2-40B4-BE49-F238E27FC236}">
                  <a16:creationId xmlns:a16="http://schemas.microsoft.com/office/drawing/2014/main" id="{1B6959CA-D521-4AA5-AE48-D3D7446D916F}"/>
                </a:ext>
              </a:extLst>
            </p:cNvPr>
            <p:cNvSpPr>
              <a:spLocks/>
            </p:cNvSpPr>
            <p:nvPr/>
          </p:nvSpPr>
          <p:spPr bwMode="auto">
            <a:xfrm>
              <a:off x="4957763" y="2895601"/>
              <a:ext cx="52388" cy="195263"/>
            </a:xfrm>
            <a:custGeom>
              <a:avLst/>
              <a:gdLst>
                <a:gd name="T0" fmla="*/ 14 w 14"/>
                <a:gd name="T1" fmla="*/ 0 h 52"/>
                <a:gd name="T2" fmla="*/ 14 w 14"/>
                <a:gd name="T3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4" h="52">
                  <a:moveTo>
                    <a:pt x="14" y="0"/>
                  </a:moveTo>
                  <a:cubicBezTo>
                    <a:pt x="0" y="15"/>
                    <a:pt x="0" y="34"/>
                    <a:pt x="14" y="52"/>
                  </a:cubicBezTo>
                </a:path>
              </a:pathLst>
            </a:custGeom>
            <a:noFill/>
            <a:ln w="12700" cap="flat">
              <a:solidFill>
                <a:schemeClr val="tx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>
                <a:latin typeface="Georgia" panose="02040502050405020303" pitchFamily="18" charset="0"/>
              </a:endParaRPr>
            </a:p>
          </p:txBody>
        </p:sp>
        <p:sp>
          <p:nvSpPr>
            <p:cNvPr id="83" name="Freeform 260">
              <a:extLst>
                <a:ext uri="{FF2B5EF4-FFF2-40B4-BE49-F238E27FC236}">
                  <a16:creationId xmlns:a16="http://schemas.microsoft.com/office/drawing/2014/main" id="{82E6FB8D-1DAE-4441-AE04-1EF019A9A75B}"/>
                </a:ext>
              </a:extLst>
            </p:cNvPr>
            <p:cNvSpPr>
              <a:spLocks/>
            </p:cNvSpPr>
            <p:nvPr/>
          </p:nvSpPr>
          <p:spPr bwMode="auto">
            <a:xfrm>
              <a:off x="5018088" y="2895601"/>
              <a:ext cx="52388" cy="195263"/>
            </a:xfrm>
            <a:custGeom>
              <a:avLst/>
              <a:gdLst>
                <a:gd name="T0" fmla="*/ 0 w 14"/>
                <a:gd name="T1" fmla="*/ 0 h 52"/>
                <a:gd name="T2" fmla="*/ 0 w 14"/>
                <a:gd name="T3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4" h="52">
                  <a:moveTo>
                    <a:pt x="0" y="0"/>
                  </a:moveTo>
                  <a:cubicBezTo>
                    <a:pt x="14" y="15"/>
                    <a:pt x="14" y="34"/>
                    <a:pt x="0" y="52"/>
                  </a:cubicBezTo>
                </a:path>
              </a:pathLst>
            </a:custGeom>
            <a:noFill/>
            <a:ln w="12700" cap="flat">
              <a:solidFill>
                <a:schemeClr val="tx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>
                <a:latin typeface="Georgia" panose="02040502050405020303" pitchFamily="18" charset="0"/>
              </a:endParaRPr>
            </a:p>
          </p:txBody>
        </p:sp>
        <p:sp>
          <p:nvSpPr>
            <p:cNvPr id="84" name="Line 261">
              <a:extLst>
                <a:ext uri="{FF2B5EF4-FFF2-40B4-BE49-F238E27FC236}">
                  <a16:creationId xmlns:a16="http://schemas.microsoft.com/office/drawing/2014/main" id="{31112D4B-0B97-40D3-B42A-FA0049C6829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932363" y="3044826"/>
              <a:ext cx="165100" cy="0"/>
            </a:xfrm>
            <a:prstGeom prst="line">
              <a:avLst/>
            </a:prstGeom>
            <a:noFill/>
            <a:ln w="12700" cap="flat">
              <a:solidFill>
                <a:schemeClr val="tx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>
                <a:latin typeface="Georgia" panose="02040502050405020303" pitchFamily="18" charset="0"/>
              </a:endParaRPr>
            </a:p>
          </p:txBody>
        </p:sp>
        <p:sp>
          <p:nvSpPr>
            <p:cNvPr id="85" name="Line 262">
              <a:extLst>
                <a:ext uri="{FF2B5EF4-FFF2-40B4-BE49-F238E27FC236}">
                  <a16:creationId xmlns:a16="http://schemas.microsoft.com/office/drawing/2014/main" id="{E4755815-A1F4-471A-98C2-D8B36B1FB9D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932363" y="2940051"/>
              <a:ext cx="165100" cy="0"/>
            </a:xfrm>
            <a:prstGeom prst="line">
              <a:avLst/>
            </a:prstGeom>
            <a:noFill/>
            <a:ln w="12700" cap="flat">
              <a:solidFill>
                <a:schemeClr val="tx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>
                <a:latin typeface="Georgia" panose="02040502050405020303" pitchFamily="18" charset="0"/>
              </a:endParaRPr>
            </a:p>
          </p:txBody>
        </p:sp>
        <p:sp>
          <p:nvSpPr>
            <p:cNvPr id="86" name="Line 263">
              <a:extLst>
                <a:ext uri="{FF2B5EF4-FFF2-40B4-BE49-F238E27FC236}">
                  <a16:creationId xmlns:a16="http://schemas.microsoft.com/office/drawing/2014/main" id="{A96EFEC2-70EA-47AF-B563-94452F9EA27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916488" y="2992438"/>
              <a:ext cx="195263" cy="0"/>
            </a:xfrm>
            <a:prstGeom prst="line">
              <a:avLst/>
            </a:prstGeom>
            <a:noFill/>
            <a:ln w="12700" cap="flat">
              <a:solidFill>
                <a:schemeClr val="tx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>
                <a:latin typeface="Georgia" panose="02040502050405020303" pitchFamily="18" charset="0"/>
              </a:endParaRPr>
            </a:p>
          </p:txBody>
        </p:sp>
        <p:sp>
          <p:nvSpPr>
            <p:cNvPr id="87" name="Oval 264">
              <a:extLst>
                <a:ext uri="{FF2B5EF4-FFF2-40B4-BE49-F238E27FC236}">
                  <a16:creationId xmlns:a16="http://schemas.microsoft.com/office/drawing/2014/main" id="{516DC5F4-7F06-4F6C-BB32-F2BFECE42AE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864100" y="3105151"/>
              <a:ext cx="74613" cy="76200"/>
            </a:xfrm>
            <a:prstGeom prst="ellipse">
              <a:avLst/>
            </a:prstGeom>
            <a:noFill/>
            <a:ln w="12700" cap="rnd">
              <a:solidFill>
                <a:schemeClr val="tx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>
                <a:latin typeface="Georgia" panose="02040502050405020303" pitchFamily="18" charset="0"/>
              </a:endParaRPr>
            </a:p>
          </p:txBody>
        </p:sp>
        <p:sp>
          <p:nvSpPr>
            <p:cNvPr id="88" name="Oval 265">
              <a:extLst>
                <a:ext uri="{FF2B5EF4-FFF2-40B4-BE49-F238E27FC236}">
                  <a16:creationId xmlns:a16="http://schemas.microsoft.com/office/drawing/2014/main" id="{5D60400B-6A1D-4BC3-98BA-6E0111D37EB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76813" y="3105151"/>
              <a:ext cx="74613" cy="76200"/>
            </a:xfrm>
            <a:prstGeom prst="ellipse">
              <a:avLst/>
            </a:prstGeom>
            <a:noFill/>
            <a:ln w="12700" cap="rnd">
              <a:solidFill>
                <a:schemeClr val="tx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>
                <a:latin typeface="Georgia" panose="02040502050405020303" pitchFamily="18" charset="0"/>
              </a:endParaRPr>
            </a:p>
          </p:txBody>
        </p:sp>
        <p:sp>
          <p:nvSpPr>
            <p:cNvPr id="89" name="Oval 266">
              <a:extLst>
                <a:ext uri="{FF2B5EF4-FFF2-40B4-BE49-F238E27FC236}">
                  <a16:creationId xmlns:a16="http://schemas.microsoft.com/office/drawing/2014/main" id="{D92A9160-5445-4E44-97F7-EDCC1C3DE9F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89525" y="3105151"/>
              <a:ext cx="74613" cy="76200"/>
            </a:xfrm>
            <a:prstGeom prst="ellipse">
              <a:avLst/>
            </a:prstGeom>
            <a:noFill/>
            <a:ln w="12700" cap="rnd">
              <a:solidFill>
                <a:schemeClr val="tx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>
                <a:latin typeface="Georgia" panose="02040502050405020303" pitchFamily="18" charset="0"/>
              </a:endParaRPr>
            </a:p>
          </p:txBody>
        </p:sp>
        <p:sp>
          <p:nvSpPr>
            <p:cNvPr id="90" name="Freeform 267">
              <a:extLst>
                <a:ext uri="{FF2B5EF4-FFF2-40B4-BE49-F238E27FC236}">
                  <a16:creationId xmlns:a16="http://schemas.microsoft.com/office/drawing/2014/main" id="{4AC07035-F526-456C-97E2-0ABF2598BF8F}"/>
                </a:ext>
              </a:extLst>
            </p:cNvPr>
            <p:cNvSpPr>
              <a:spLocks/>
            </p:cNvSpPr>
            <p:nvPr/>
          </p:nvSpPr>
          <p:spPr bwMode="auto">
            <a:xfrm>
              <a:off x="4841875" y="3181351"/>
              <a:ext cx="344488" cy="60325"/>
            </a:xfrm>
            <a:custGeom>
              <a:avLst/>
              <a:gdLst>
                <a:gd name="T0" fmla="*/ 76 w 92"/>
                <a:gd name="T1" fmla="*/ 0 h 16"/>
                <a:gd name="T2" fmla="*/ 61 w 92"/>
                <a:gd name="T3" fmla="*/ 11 h 16"/>
                <a:gd name="T4" fmla="*/ 46 w 92"/>
                <a:gd name="T5" fmla="*/ 0 h 16"/>
                <a:gd name="T6" fmla="*/ 31 w 92"/>
                <a:gd name="T7" fmla="*/ 11 h 16"/>
                <a:gd name="T8" fmla="*/ 16 w 92"/>
                <a:gd name="T9" fmla="*/ 0 h 16"/>
                <a:gd name="T10" fmla="*/ 0 w 92"/>
                <a:gd name="T11" fmla="*/ 16 h 16"/>
                <a:gd name="T12" fmla="*/ 92 w 92"/>
                <a:gd name="T13" fmla="*/ 16 h 16"/>
                <a:gd name="T14" fmla="*/ 76 w 92"/>
                <a:gd name="T15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2" h="16">
                  <a:moveTo>
                    <a:pt x="76" y="0"/>
                  </a:moveTo>
                  <a:cubicBezTo>
                    <a:pt x="69" y="0"/>
                    <a:pt x="63" y="4"/>
                    <a:pt x="61" y="11"/>
                  </a:cubicBezTo>
                  <a:cubicBezTo>
                    <a:pt x="59" y="4"/>
                    <a:pt x="53" y="0"/>
                    <a:pt x="46" y="0"/>
                  </a:cubicBezTo>
                  <a:cubicBezTo>
                    <a:pt x="39" y="0"/>
                    <a:pt x="33" y="4"/>
                    <a:pt x="31" y="11"/>
                  </a:cubicBezTo>
                  <a:cubicBezTo>
                    <a:pt x="29" y="4"/>
                    <a:pt x="23" y="0"/>
                    <a:pt x="16" y="0"/>
                  </a:cubicBezTo>
                  <a:cubicBezTo>
                    <a:pt x="7" y="0"/>
                    <a:pt x="0" y="8"/>
                    <a:pt x="0" y="16"/>
                  </a:cubicBezTo>
                  <a:cubicBezTo>
                    <a:pt x="92" y="16"/>
                    <a:pt x="92" y="16"/>
                    <a:pt x="92" y="16"/>
                  </a:cubicBezTo>
                  <a:cubicBezTo>
                    <a:pt x="92" y="8"/>
                    <a:pt x="85" y="0"/>
                    <a:pt x="76" y="0"/>
                  </a:cubicBezTo>
                  <a:close/>
                </a:path>
              </a:pathLst>
            </a:custGeom>
            <a:noFill/>
            <a:ln w="12700" cap="rnd">
              <a:solidFill>
                <a:schemeClr val="tx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>
                <a:latin typeface="Georgia" panose="02040502050405020303" pitchFamily="18" charset="0"/>
              </a:endParaRPr>
            </a:p>
          </p:txBody>
        </p:sp>
      </p:grpSp>
      <p:grpSp>
        <p:nvGrpSpPr>
          <p:cNvPr id="91" name="Group 90">
            <a:extLst>
              <a:ext uri="{FF2B5EF4-FFF2-40B4-BE49-F238E27FC236}">
                <a16:creationId xmlns:a16="http://schemas.microsoft.com/office/drawing/2014/main" id="{9C196FBB-0253-406A-BB15-11DF72B1D51F}"/>
              </a:ext>
            </a:extLst>
          </p:cNvPr>
          <p:cNvGrpSpPr/>
          <p:nvPr/>
        </p:nvGrpSpPr>
        <p:grpSpPr>
          <a:xfrm>
            <a:off x="8947506" y="5032311"/>
            <a:ext cx="224434" cy="274309"/>
            <a:chOff x="4178300" y="2890838"/>
            <a:chExt cx="285750" cy="349250"/>
          </a:xfrm>
        </p:grpSpPr>
        <p:sp>
          <p:nvSpPr>
            <p:cNvPr id="92" name="Rectangle 22">
              <a:extLst>
                <a:ext uri="{FF2B5EF4-FFF2-40B4-BE49-F238E27FC236}">
                  <a16:creationId xmlns:a16="http://schemas.microsoft.com/office/drawing/2014/main" id="{44A16FE6-E473-4FC9-9FF5-CB52199AE6F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224338" y="2921000"/>
              <a:ext cx="195263" cy="227013"/>
            </a:xfrm>
            <a:prstGeom prst="rect">
              <a:avLst/>
            </a:prstGeom>
            <a:noFill/>
            <a:ln w="12700" cap="flat">
              <a:solidFill>
                <a:schemeClr val="tx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>
                <a:latin typeface="Georgia" panose="02040502050405020303" pitchFamily="18" charset="0"/>
              </a:endParaRPr>
            </a:p>
          </p:txBody>
        </p:sp>
        <p:sp>
          <p:nvSpPr>
            <p:cNvPr id="93" name="Oval 23">
              <a:extLst>
                <a:ext uri="{FF2B5EF4-FFF2-40B4-BE49-F238E27FC236}">
                  <a16:creationId xmlns:a16="http://schemas.microsoft.com/office/drawing/2014/main" id="{33A5199D-5009-4C9A-9EAE-B01E9BE0FD9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260850" y="3186113"/>
              <a:ext cx="15875" cy="15875"/>
            </a:xfrm>
            <a:prstGeom prst="ellipse">
              <a:avLst/>
            </a:prstGeom>
            <a:solidFill>
              <a:srgbClr val="000000"/>
            </a:solidFill>
            <a:ln w="12700">
              <a:solidFill>
                <a:schemeClr val="tx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>
                <a:latin typeface="Georgia" panose="02040502050405020303" pitchFamily="18" charset="0"/>
              </a:endParaRPr>
            </a:p>
          </p:txBody>
        </p:sp>
        <p:sp>
          <p:nvSpPr>
            <p:cNvPr id="94" name="Oval 24">
              <a:extLst>
                <a:ext uri="{FF2B5EF4-FFF2-40B4-BE49-F238E27FC236}">
                  <a16:creationId xmlns:a16="http://schemas.microsoft.com/office/drawing/2014/main" id="{584EC328-7716-46FB-832C-61ADD934AF8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230688" y="3186113"/>
              <a:ext cx="15875" cy="15875"/>
            </a:xfrm>
            <a:prstGeom prst="ellipse">
              <a:avLst/>
            </a:prstGeom>
            <a:solidFill>
              <a:srgbClr val="000000"/>
            </a:solidFill>
            <a:ln w="12700">
              <a:solidFill>
                <a:schemeClr val="tx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>
                <a:latin typeface="Georgia" panose="02040502050405020303" pitchFamily="18" charset="0"/>
              </a:endParaRPr>
            </a:p>
          </p:txBody>
        </p:sp>
        <p:sp>
          <p:nvSpPr>
            <p:cNvPr id="95" name="Oval 25">
              <a:extLst>
                <a:ext uri="{FF2B5EF4-FFF2-40B4-BE49-F238E27FC236}">
                  <a16:creationId xmlns:a16="http://schemas.microsoft.com/office/drawing/2014/main" id="{7BE5B658-63E0-4535-9683-98041AEDDB2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395788" y="3186113"/>
              <a:ext cx="15875" cy="15875"/>
            </a:xfrm>
            <a:prstGeom prst="ellipse">
              <a:avLst/>
            </a:prstGeom>
            <a:solidFill>
              <a:srgbClr val="000000"/>
            </a:solidFill>
            <a:ln w="12700">
              <a:solidFill>
                <a:schemeClr val="tx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>
                <a:latin typeface="Georgia" panose="02040502050405020303" pitchFamily="18" charset="0"/>
              </a:endParaRPr>
            </a:p>
          </p:txBody>
        </p:sp>
        <p:sp>
          <p:nvSpPr>
            <p:cNvPr id="96" name="Oval 26">
              <a:extLst>
                <a:ext uri="{FF2B5EF4-FFF2-40B4-BE49-F238E27FC236}">
                  <a16:creationId xmlns:a16="http://schemas.microsoft.com/office/drawing/2014/main" id="{E7F9CBB6-F60C-4DF0-AC1E-9C310EB8257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367213" y="3186113"/>
              <a:ext cx="14288" cy="15875"/>
            </a:xfrm>
            <a:prstGeom prst="ellipse">
              <a:avLst/>
            </a:prstGeom>
            <a:solidFill>
              <a:srgbClr val="000000"/>
            </a:solidFill>
            <a:ln w="12700">
              <a:solidFill>
                <a:schemeClr val="tx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>
                <a:latin typeface="Georgia" panose="02040502050405020303" pitchFamily="18" charset="0"/>
              </a:endParaRPr>
            </a:p>
          </p:txBody>
        </p:sp>
        <p:sp>
          <p:nvSpPr>
            <p:cNvPr id="97" name="Line 27">
              <a:extLst>
                <a:ext uri="{FF2B5EF4-FFF2-40B4-BE49-F238E27FC236}">
                  <a16:creationId xmlns:a16="http://schemas.microsoft.com/office/drawing/2014/main" id="{988A3463-243E-4D8D-8866-FF24EAEC286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260850" y="3087688"/>
              <a:ext cx="120650" cy="0"/>
            </a:xfrm>
            <a:prstGeom prst="line">
              <a:avLst/>
            </a:prstGeom>
            <a:noFill/>
            <a:ln w="12700" cap="flat">
              <a:solidFill>
                <a:schemeClr val="tx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>
                <a:latin typeface="Georgia" panose="02040502050405020303" pitchFamily="18" charset="0"/>
              </a:endParaRPr>
            </a:p>
          </p:txBody>
        </p:sp>
        <p:sp>
          <p:nvSpPr>
            <p:cNvPr id="98" name="Line 28">
              <a:extLst>
                <a:ext uri="{FF2B5EF4-FFF2-40B4-BE49-F238E27FC236}">
                  <a16:creationId xmlns:a16="http://schemas.microsoft.com/office/drawing/2014/main" id="{950BE8F7-CB51-4C0D-9A65-08B68BDA036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260850" y="3057525"/>
              <a:ext cx="120650" cy="0"/>
            </a:xfrm>
            <a:prstGeom prst="line">
              <a:avLst/>
            </a:prstGeom>
            <a:noFill/>
            <a:ln w="12700" cap="flat">
              <a:solidFill>
                <a:schemeClr val="tx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>
                <a:latin typeface="Georgia" panose="02040502050405020303" pitchFamily="18" charset="0"/>
              </a:endParaRPr>
            </a:p>
          </p:txBody>
        </p:sp>
        <p:sp>
          <p:nvSpPr>
            <p:cNvPr id="99" name="Line 29">
              <a:extLst>
                <a:ext uri="{FF2B5EF4-FFF2-40B4-BE49-F238E27FC236}">
                  <a16:creationId xmlns:a16="http://schemas.microsoft.com/office/drawing/2014/main" id="{3EC9474F-11CE-4590-A4B3-CA105CC70FC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260850" y="3027363"/>
              <a:ext cx="120650" cy="0"/>
            </a:xfrm>
            <a:prstGeom prst="line">
              <a:avLst/>
            </a:prstGeom>
            <a:noFill/>
            <a:ln w="12700" cap="flat">
              <a:solidFill>
                <a:schemeClr val="tx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>
                <a:latin typeface="Georgia" panose="02040502050405020303" pitchFamily="18" charset="0"/>
              </a:endParaRPr>
            </a:p>
          </p:txBody>
        </p:sp>
        <p:sp>
          <p:nvSpPr>
            <p:cNvPr id="100" name="Line 30">
              <a:extLst>
                <a:ext uri="{FF2B5EF4-FFF2-40B4-BE49-F238E27FC236}">
                  <a16:creationId xmlns:a16="http://schemas.microsoft.com/office/drawing/2014/main" id="{B81E5338-BE5C-4FE8-BA7E-B65823FF4D1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260850" y="2997200"/>
              <a:ext cx="120650" cy="0"/>
            </a:xfrm>
            <a:prstGeom prst="line">
              <a:avLst/>
            </a:prstGeom>
            <a:noFill/>
            <a:ln w="12700" cap="flat">
              <a:solidFill>
                <a:schemeClr val="tx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>
                <a:latin typeface="Georgia" panose="02040502050405020303" pitchFamily="18" charset="0"/>
              </a:endParaRPr>
            </a:p>
          </p:txBody>
        </p:sp>
        <p:sp>
          <p:nvSpPr>
            <p:cNvPr id="101" name="Line 31">
              <a:extLst>
                <a:ext uri="{FF2B5EF4-FFF2-40B4-BE49-F238E27FC236}">
                  <a16:creationId xmlns:a16="http://schemas.microsoft.com/office/drawing/2014/main" id="{1E443932-4FB1-43E2-8878-622357A2C6E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260850" y="2967038"/>
              <a:ext cx="76200" cy="0"/>
            </a:xfrm>
            <a:prstGeom prst="line">
              <a:avLst/>
            </a:prstGeom>
            <a:noFill/>
            <a:ln w="12700" cap="flat">
              <a:solidFill>
                <a:schemeClr val="tx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>
                <a:latin typeface="Georgia" panose="02040502050405020303" pitchFamily="18" charset="0"/>
              </a:endParaRPr>
            </a:p>
          </p:txBody>
        </p:sp>
        <p:sp>
          <p:nvSpPr>
            <p:cNvPr id="102" name="Line 32">
              <a:extLst>
                <a:ext uri="{FF2B5EF4-FFF2-40B4-BE49-F238E27FC236}">
                  <a16:creationId xmlns:a16="http://schemas.microsoft.com/office/drawing/2014/main" id="{0A168792-969F-4D93-B8B0-0067EB2240F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178300" y="3027363"/>
              <a:ext cx="46038" cy="0"/>
            </a:xfrm>
            <a:prstGeom prst="line">
              <a:avLst/>
            </a:prstGeom>
            <a:noFill/>
            <a:ln w="12700" cap="flat">
              <a:solidFill>
                <a:schemeClr val="tx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>
                <a:latin typeface="Georgia" panose="02040502050405020303" pitchFamily="18" charset="0"/>
              </a:endParaRPr>
            </a:p>
          </p:txBody>
        </p:sp>
        <p:sp>
          <p:nvSpPr>
            <p:cNvPr id="103" name="Line 33">
              <a:extLst>
                <a:ext uri="{FF2B5EF4-FFF2-40B4-BE49-F238E27FC236}">
                  <a16:creationId xmlns:a16="http://schemas.microsoft.com/office/drawing/2014/main" id="{56575122-2DA9-4F74-B8DD-F7D850BCB82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178300" y="3073400"/>
              <a:ext cx="46038" cy="0"/>
            </a:xfrm>
            <a:prstGeom prst="line">
              <a:avLst/>
            </a:prstGeom>
            <a:noFill/>
            <a:ln w="12700" cap="flat">
              <a:solidFill>
                <a:schemeClr val="tx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>
                <a:latin typeface="Georgia" panose="02040502050405020303" pitchFamily="18" charset="0"/>
              </a:endParaRPr>
            </a:p>
          </p:txBody>
        </p:sp>
        <p:sp>
          <p:nvSpPr>
            <p:cNvPr id="104" name="Line 34">
              <a:extLst>
                <a:ext uri="{FF2B5EF4-FFF2-40B4-BE49-F238E27FC236}">
                  <a16:creationId xmlns:a16="http://schemas.microsoft.com/office/drawing/2014/main" id="{1B981897-FE56-4C21-A8A2-1180B40AC16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178300" y="3117850"/>
              <a:ext cx="46038" cy="0"/>
            </a:xfrm>
            <a:prstGeom prst="line">
              <a:avLst/>
            </a:prstGeom>
            <a:noFill/>
            <a:ln w="12700" cap="flat">
              <a:solidFill>
                <a:schemeClr val="tx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>
                <a:latin typeface="Georgia" panose="02040502050405020303" pitchFamily="18" charset="0"/>
              </a:endParaRPr>
            </a:p>
          </p:txBody>
        </p:sp>
        <p:sp>
          <p:nvSpPr>
            <p:cNvPr id="105" name="Line 35">
              <a:extLst>
                <a:ext uri="{FF2B5EF4-FFF2-40B4-BE49-F238E27FC236}">
                  <a16:creationId xmlns:a16="http://schemas.microsoft.com/office/drawing/2014/main" id="{82F22D0F-A655-45BD-9AB3-7F63AFBA4A6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419600" y="3027363"/>
              <a:ext cx="44450" cy="0"/>
            </a:xfrm>
            <a:prstGeom prst="line">
              <a:avLst/>
            </a:prstGeom>
            <a:noFill/>
            <a:ln w="12700" cap="flat">
              <a:solidFill>
                <a:schemeClr val="tx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>
                <a:latin typeface="Georgia" panose="02040502050405020303" pitchFamily="18" charset="0"/>
              </a:endParaRPr>
            </a:p>
          </p:txBody>
        </p:sp>
        <p:sp>
          <p:nvSpPr>
            <p:cNvPr id="106" name="Line 36">
              <a:extLst>
                <a:ext uri="{FF2B5EF4-FFF2-40B4-BE49-F238E27FC236}">
                  <a16:creationId xmlns:a16="http://schemas.microsoft.com/office/drawing/2014/main" id="{74F2C2DA-7DBD-45FC-9469-7E6C5806815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419600" y="3073400"/>
              <a:ext cx="44450" cy="0"/>
            </a:xfrm>
            <a:prstGeom prst="line">
              <a:avLst/>
            </a:prstGeom>
            <a:noFill/>
            <a:ln w="12700" cap="flat">
              <a:solidFill>
                <a:schemeClr val="tx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>
                <a:latin typeface="Georgia" panose="02040502050405020303" pitchFamily="18" charset="0"/>
              </a:endParaRPr>
            </a:p>
          </p:txBody>
        </p:sp>
        <p:sp>
          <p:nvSpPr>
            <p:cNvPr id="107" name="Line 37">
              <a:extLst>
                <a:ext uri="{FF2B5EF4-FFF2-40B4-BE49-F238E27FC236}">
                  <a16:creationId xmlns:a16="http://schemas.microsoft.com/office/drawing/2014/main" id="{6D0E9DA8-4240-404E-8F56-0CB67E2851B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419600" y="3117850"/>
              <a:ext cx="44450" cy="0"/>
            </a:xfrm>
            <a:prstGeom prst="line">
              <a:avLst/>
            </a:prstGeom>
            <a:noFill/>
            <a:ln w="12700" cap="flat">
              <a:solidFill>
                <a:schemeClr val="tx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>
                <a:latin typeface="Georgia" panose="02040502050405020303" pitchFamily="18" charset="0"/>
              </a:endParaRPr>
            </a:p>
          </p:txBody>
        </p:sp>
        <p:sp>
          <p:nvSpPr>
            <p:cNvPr id="108" name="Freeform 38">
              <a:extLst>
                <a:ext uri="{FF2B5EF4-FFF2-40B4-BE49-F238E27FC236}">
                  <a16:creationId xmlns:a16="http://schemas.microsoft.com/office/drawing/2014/main" id="{A2C0B024-A31B-405F-9885-DF60EFABDA6B}"/>
                </a:ext>
              </a:extLst>
            </p:cNvPr>
            <p:cNvSpPr>
              <a:spLocks/>
            </p:cNvSpPr>
            <p:nvPr/>
          </p:nvSpPr>
          <p:spPr bwMode="auto">
            <a:xfrm>
              <a:off x="4178300" y="2890838"/>
              <a:ext cx="285750" cy="349250"/>
            </a:xfrm>
            <a:custGeom>
              <a:avLst/>
              <a:gdLst>
                <a:gd name="T0" fmla="*/ 76 w 76"/>
                <a:gd name="T1" fmla="*/ 84 h 92"/>
                <a:gd name="T2" fmla="*/ 68 w 76"/>
                <a:gd name="T3" fmla="*/ 92 h 92"/>
                <a:gd name="T4" fmla="*/ 8 w 76"/>
                <a:gd name="T5" fmla="*/ 92 h 92"/>
                <a:gd name="T6" fmla="*/ 0 w 76"/>
                <a:gd name="T7" fmla="*/ 84 h 92"/>
                <a:gd name="T8" fmla="*/ 0 w 76"/>
                <a:gd name="T9" fmla="*/ 8 h 92"/>
                <a:gd name="T10" fmla="*/ 8 w 76"/>
                <a:gd name="T11" fmla="*/ 0 h 92"/>
                <a:gd name="T12" fmla="*/ 68 w 76"/>
                <a:gd name="T13" fmla="*/ 0 h 92"/>
                <a:gd name="T14" fmla="*/ 76 w 76"/>
                <a:gd name="T15" fmla="*/ 8 h 92"/>
                <a:gd name="T16" fmla="*/ 76 w 76"/>
                <a:gd name="T17" fmla="*/ 84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6" h="92">
                  <a:moveTo>
                    <a:pt x="76" y="84"/>
                  </a:moveTo>
                  <a:cubicBezTo>
                    <a:pt x="76" y="88"/>
                    <a:pt x="72" y="92"/>
                    <a:pt x="68" y="92"/>
                  </a:cubicBezTo>
                  <a:cubicBezTo>
                    <a:pt x="8" y="92"/>
                    <a:pt x="8" y="92"/>
                    <a:pt x="8" y="92"/>
                  </a:cubicBezTo>
                  <a:cubicBezTo>
                    <a:pt x="4" y="92"/>
                    <a:pt x="0" y="88"/>
                    <a:pt x="0" y="84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4"/>
                    <a:pt x="4" y="0"/>
                    <a:pt x="8" y="0"/>
                  </a:cubicBezTo>
                  <a:cubicBezTo>
                    <a:pt x="68" y="0"/>
                    <a:pt x="68" y="0"/>
                    <a:pt x="68" y="0"/>
                  </a:cubicBezTo>
                  <a:cubicBezTo>
                    <a:pt x="72" y="0"/>
                    <a:pt x="76" y="4"/>
                    <a:pt x="76" y="8"/>
                  </a:cubicBezTo>
                  <a:lnTo>
                    <a:pt x="76" y="84"/>
                  </a:lnTo>
                  <a:close/>
                </a:path>
              </a:pathLst>
            </a:custGeom>
            <a:noFill/>
            <a:ln w="12700" cap="flat">
              <a:solidFill>
                <a:schemeClr val="tx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>
                <a:latin typeface="Georgia" panose="02040502050405020303" pitchFamily="18" charset="0"/>
              </a:endParaRPr>
            </a:p>
          </p:txBody>
        </p:sp>
        <p:sp>
          <p:nvSpPr>
            <p:cNvPr id="109" name="Freeform 39">
              <a:extLst>
                <a:ext uri="{FF2B5EF4-FFF2-40B4-BE49-F238E27FC236}">
                  <a16:creationId xmlns:a16="http://schemas.microsoft.com/office/drawing/2014/main" id="{DA2DB892-F50C-41FE-B301-C715837DDCD7}"/>
                </a:ext>
              </a:extLst>
            </p:cNvPr>
            <p:cNvSpPr>
              <a:spLocks/>
            </p:cNvSpPr>
            <p:nvPr/>
          </p:nvSpPr>
          <p:spPr bwMode="auto">
            <a:xfrm>
              <a:off x="4298950" y="3178175"/>
              <a:ext cx="44450" cy="31750"/>
            </a:xfrm>
            <a:custGeom>
              <a:avLst/>
              <a:gdLst>
                <a:gd name="T0" fmla="*/ 12 w 12"/>
                <a:gd name="T1" fmla="*/ 6 h 8"/>
                <a:gd name="T2" fmla="*/ 10 w 12"/>
                <a:gd name="T3" fmla="*/ 8 h 8"/>
                <a:gd name="T4" fmla="*/ 2 w 12"/>
                <a:gd name="T5" fmla="*/ 8 h 8"/>
                <a:gd name="T6" fmla="*/ 0 w 12"/>
                <a:gd name="T7" fmla="*/ 6 h 8"/>
                <a:gd name="T8" fmla="*/ 0 w 12"/>
                <a:gd name="T9" fmla="*/ 2 h 8"/>
                <a:gd name="T10" fmla="*/ 2 w 12"/>
                <a:gd name="T11" fmla="*/ 0 h 8"/>
                <a:gd name="T12" fmla="*/ 10 w 12"/>
                <a:gd name="T13" fmla="*/ 0 h 8"/>
                <a:gd name="T14" fmla="*/ 12 w 12"/>
                <a:gd name="T15" fmla="*/ 2 h 8"/>
                <a:gd name="T16" fmla="*/ 12 w 12"/>
                <a:gd name="T17" fmla="*/ 6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2" h="8">
                  <a:moveTo>
                    <a:pt x="12" y="6"/>
                  </a:moveTo>
                  <a:cubicBezTo>
                    <a:pt x="12" y="7"/>
                    <a:pt x="11" y="8"/>
                    <a:pt x="10" y="8"/>
                  </a:cubicBezTo>
                  <a:cubicBezTo>
                    <a:pt x="2" y="8"/>
                    <a:pt x="2" y="8"/>
                    <a:pt x="2" y="8"/>
                  </a:cubicBezTo>
                  <a:cubicBezTo>
                    <a:pt x="1" y="8"/>
                    <a:pt x="0" y="7"/>
                    <a:pt x="0" y="6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1" y="0"/>
                    <a:pt x="12" y="1"/>
                    <a:pt x="12" y="2"/>
                  </a:cubicBezTo>
                  <a:lnTo>
                    <a:pt x="12" y="6"/>
                  </a:lnTo>
                  <a:close/>
                </a:path>
              </a:pathLst>
            </a:custGeom>
            <a:noFill/>
            <a:ln w="12700" cap="flat">
              <a:solidFill>
                <a:schemeClr val="tx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>
                <a:latin typeface="Georgia" panose="02040502050405020303" pitchFamily="18" charset="0"/>
              </a:endParaRPr>
            </a:p>
          </p:txBody>
        </p:sp>
      </p:grpSp>
      <p:pic>
        <p:nvPicPr>
          <p:cNvPr id="121" name="Picture 120">
            <a:extLst>
              <a:ext uri="{FF2B5EF4-FFF2-40B4-BE49-F238E27FC236}">
                <a16:creationId xmlns:a16="http://schemas.microsoft.com/office/drawing/2014/main" id="{A83AD4AD-0B6A-40AF-A88C-7E887544A4FD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hqprint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t="-191"/>
          <a:stretch/>
        </p:blipFill>
        <p:spPr>
          <a:xfrm>
            <a:off x="4745906" y="2400138"/>
            <a:ext cx="2280467" cy="2280467"/>
          </a:xfrm>
          <a:custGeom>
            <a:avLst/>
            <a:gdLst>
              <a:gd name="connsiteX0" fmla="*/ 1254257 w 2508514"/>
              <a:gd name="connsiteY0" fmla="*/ 0 h 2508514"/>
              <a:gd name="connsiteX1" fmla="*/ 2508514 w 2508514"/>
              <a:gd name="connsiteY1" fmla="*/ 1254257 h 2508514"/>
              <a:gd name="connsiteX2" fmla="*/ 1254257 w 2508514"/>
              <a:gd name="connsiteY2" fmla="*/ 2508514 h 2508514"/>
              <a:gd name="connsiteX3" fmla="*/ 0 w 2508514"/>
              <a:gd name="connsiteY3" fmla="*/ 1254257 h 2508514"/>
              <a:gd name="connsiteX4" fmla="*/ 1254257 w 2508514"/>
              <a:gd name="connsiteY4" fmla="*/ 0 h 25085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08514" h="2508514">
                <a:moveTo>
                  <a:pt x="1254257" y="0"/>
                </a:moveTo>
                <a:cubicBezTo>
                  <a:pt x="1946964" y="0"/>
                  <a:pt x="2508514" y="561550"/>
                  <a:pt x="2508514" y="1254257"/>
                </a:cubicBezTo>
                <a:cubicBezTo>
                  <a:pt x="2508514" y="1946964"/>
                  <a:pt x="1946964" y="2508514"/>
                  <a:pt x="1254257" y="2508514"/>
                </a:cubicBezTo>
                <a:cubicBezTo>
                  <a:pt x="561550" y="2508514"/>
                  <a:pt x="0" y="1946964"/>
                  <a:pt x="0" y="1254257"/>
                </a:cubicBezTo>
                <a:cubicBezTo>
                  <a:pt x="0" y="561550"/>
                  <a:pt x="561550" y="0"/>
                  <a:pt x="1254257" y="0"/>
                </a:cubicBezTo>
                <a:close/>
              </a:path>
            </a:pathLst>
          </a:custGeom>
        </p:spPr>
      </p:pic>
      <p:sp>
        <p:nvSpPr>
          <p:cNvPr id="120" name="Oval 119">
            <a:extLst>
              <a:ext uri="{FF2B5EF4-FFF2-40B4-BE49-F238E27FC236}">
                <a16:creationId xmlns:a16="http://schemas.microsoft.com/office/drawing/2014/main" id="{5667728C-A9D0-4167-AEBC-46783AC02770}"/>
              </a:ext>
            </a:extLst>
          </p:cNvPr>
          <p:cNvSpPr/>
          <p:nvPr/>
        </p:nvSpPr>
        <p:spPr>
          <a:xfrm>
            <a:off x="4745905" y="2400139"/>
            <a:ext cx="2280466" cy="2280466"/>
          </a:xfrm>
          <a:prstGeom prst="ellipse">
            <a:avLst/>
          </a:prstGeom>
          <a:solidFill>
            <a:schemeClr val="bg1">
              <a:alpha val="50000"/>
            </a:schemeClr>
          </a:solidFill>
          <a:ln w="1270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4" name="Oval 123">
            <a:extLst>
              <a:ext uri="{FF2B5EF4-FFF2-40B4-BE49-F238E27FC236}">
                <a16:creationId xmlns:a16="http://schemas.microsoft.com/office/drawing/2014/main" id="{5AFC4C83-C16F-43B6-9C7A-1C4B918CCAD6}"/>
              </a:ext>
            </a:extLst>
          </p:cNvPr>
          <p:cNvSpPr/>
          <p:nvPr/>
        </p:nvSpPr>
        <p:spPr>
          <a:xfrm>
            <a:off x="5486335" y="1348532"/>
            <a:ext cx="791909" cy="791909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Georgia" panose="02040502050405020303" pitchFamily="18" charset="0"/>
            </a:endParaRPr>
          </a:p>
        </p:txBody>
      </p:sp>
      <p:sp>
        <p:nvSpPr>
          <p:cNvPr id="125" name="Oval 124">
            <a:extLst>
              <a:ext uri="{FF2B5EF4-FFF2-40B4-BE49-F238E27FC236}">
                <a16:creationId xmlns:a16="http://schemas.microsoft.com/office/drawing/2014/main" id="{7474ABBD-0767-487D-BFAF-8D9FF973CBEA}"/>
              </a:ext>
            </a:extLst>
          </p:cNvPr>
          <p:cNvSpPr/>
          <p:nvPr/>
        </p:nvSpPr>
        <p:spPr>
          <a:xfrm>
            <a:off x="5611847" y="1474044"/>
            <a:ext cx="540885" cy="540885"/>
          </a:xfrm>
          <a:prstGeom prst="ellipse">
            <a:avLst/>
          </a:prstGeom>
          <a:gradFill>
            <a:gsLst>
              <a:gs pos="0">
                <a:srgbClr val="CEDC00"/>
              </a:gs>
              <a:gs pos="100000">
                <a:srgbClr val="F0FF29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Georgia" panose="02040502050405020303" pitchFamily="18" charset="0"/>
            </a:endParaRPr>
          </a:p>
        </p:txBody>
      </p:sp>
      <p:sp>
        <p:nvSpPr>
          <p:cNvPr id="126" name="Oval 125">
            <a:extLst>
              <a:ext uri="{FF2B5EF4-FFF2-40B4-BE49-F238E27FC236}">
                <a16:creationId xmlns:a16="http://schemas.microsoft.com/office/drawing/2014/main" id="{962229E8-E4B7-456D-9C67-C31E45486D9C}"/>
              </a:ext>
            </a:extLst>
          </p:cNvPr>
          <p:cNvSpPr/>
          <p:nvPr/>
        </p:nvSpPr>
        <p:spPr>
          <a:xfrm>
            <a:off x="5486335" y="4951603"/>
            <a:ext cx="791909" cy="791909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Georgia" panose="02040502050405020303" pitchFamily="18" charset="0"/>
            </a:endParaRPr>
          </a:p>
        </p:txBody>
      </p:sp>
      <p:sp>
        <p:nvSpPr>
          <p:cNvPr id="127" name="Oval 126">
            <a:extLst>
              <a:ext uri="{FF2B5EF4-FFF2-40B4-BE49-F238E27FC236}">
                <a16:creationId xmlns:a16="http://schemas.microsoft.com/office/drawing/2014/main" id="{92B97EE3-9603-4AC2-95EE-AEED8ABD7A05}"/>
              </a:ext>
            </a:extLst>
          </p:cNvPr>
          <p:cNvSpPr/>
          <p:nvPr/>
        </p:nvSpPr>
        <p:spPr>
          <a:xfrm>
            <a:off x="5611847" y="5077115"/>
            <a:ext cx="540885" cy="540885"/>
          </a:xfrm>
          <a:prstGeom prst="ellipse">
            <a:avLst/>
          </a:prstGeom>
          <a:gradFill>
            <a:gsLst>
              <a:gs pos="0">
                <a:srgbClr val="CEDC00"/>
              </a:gs>
              <a:gs pos="100000">
                <a:srgbClr val="F0FF29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Georgia" panose="02040502050405020303" pitchFamily="18" charset="0"/>
            </a:endParaRPr>
          </a:p>
        </p:txBody>
      </p:sp>
      <p:grpSp>
        <p:nvGrpSpPr>
          <p:cNvPr id="133" name="Group 132">
            <a:extLst>
              <a:ext uri="{FF2B5EF4-FFF2-40B4-BE49-F238E27FC236}">
                <a16:creationId xmlns:a16="http://schemas.microsoft.com/office/drawing/2014/main" id="{B430839E-86AA-4E14-AAC6-F51F5E935CBD}"/>
              </a:ext>
            </a:extLst>
          </p:cNvPr>
          <p:cNvGrpSpPr/>
          <p:nvPr/>
        </p:nvGrpSpPr>
        <p:grpSpPr>
          <a:xfrm>
            <a:off x="5746586" y="5211855"/>
            <a:ext cx="271407" cy="271405"/>
            <a:chOff x="5562600" y="3979863"/>
            <a:chExt cx="346076" cy="346075"/>
          </a:xfrm>
        </p:grpSpPr>
        <p:sp>
          <p:nvSpPr>
            <p:cNvPr id="134" name="Oval 133">
              <a:extLst>
                <a:ext uri="{FF2B5EF4-FFF2-40B4-BE49-F238E27FC236}">
                  <a16:creationId xmlns:a16="http://schemas.microsoft.com/office/drawing/2014/main" id="{63C452F4-4CE7-4887-8E59-4730C9E6EF1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637213" y="4160838"/>
              <a:ext cx="90488" cy="90488"/>
            </a:xfrm>
            <a:prstGeom prst="ellipse">
              <a:avLst/>
            </a:prstGeom>
            <a:noFill/>
            <a:ln w="12700" cap="flat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35" name="Oval 134">
              <a:extLst>
                <a:ext uri="{FF2B5EF4-FFF2-40B4-BE49-F238E27FC236}">
                  <a16:creationId xmlns:a16="http://schemas.microsoft.com/office/drawing/2014/main" id="{1B680F43-CB64-4733-B840-7D2122049B5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818188" y="4024313"/>
              <a:ext cx="44450" cy="46038"/>
            </a:xfrm>
            <a:prstGeom prst="ellipse">
              <a:avLst/>
            </a:prstGeom>
            <a:noFill/>
            <a:ln w="12700" cap="flat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36" name="Freeform 66">
              <a:extLst>
                <a:ext uri="{FF2B5EF4-FFF2-40B4-BE49-F238E27FC236}">
                  <a16:creationId xmlns:a16="http://schemas.microsoft.com/office/drawing/2014/main" id="{46872985-2911-494F-BC78-AFE64ECADE92}"/>
                </a:ext>
              </a:extLst>
            </p:cNvPr>
            <p:cNvSpPr>
              <a:spLocks/>
            </p:cNvSpPr>
            <p:nvPr/>
          </p:nvSpPr>
          <p:spPr bwMode="auto">
            <a:xfrm>
              <a:off x="5562600" y="4084638"/>
              <a:ext cx="241300" cy="241300"/>
            </a:xfrm>
            <a:custGeom>
              <a:avLst/>
              <a:gdLst>
                <a:gd name="T0" fmla="*/ 58 w 64"/>
                <a:gd name="T1" fmla="*/ 32 h 64"/>
                <a:gd name="T2" fmla="*/ 57 w 64"/>
                <a:gd name="T3" fmla="*/ 27 h 64"/>
                <a:gd name="T4" fmla="*/ 64 w 64"/>
                <a:gd name="T5" fmla="*/ 23 h 64"/>
                <a:gd name="T6" fmla="*/ 56 w 64"/>
                <a:gd name="T7" fmla="*/ 9 h 64"/>
                <a:gd name="T8" fmla="*/ 50 w 64"/>
                <a:gd name="T9" fmla="*/ 13 h 64"/>
                <a:gd name="T10" fmla="*/ 40 w 64"/>
                <a:gd name="T11" fmla="*/ 7 h 64"/>
                <a:gd name="T12" fmla="*/ 40 w 64"/>
                <a:gd name="T13" fmla="*/ 0 h 64"/>
                <a:gd name="T14" fmla="*/ 24 w 64"/>
                <a:gd name="T15" fmla="*/ 0 h 64"/>
                <a:gd name="T16" fmla="*/ 24 w 64"/>
                <a:gd name="T17" fmla="*/ 7 h 64"/>
                <a:gd name="T18" fmla="*/ 15 w 64"/>
                <a:gd name="T19" fmla="*/ 13 h 64"/>
                <a:gd name="T20" fmla="*/ 8 w 64"/>
                <a:gd name="T21" fmla="*/ 9 h 64"/>
                <a:gd name="T22" fmla="*/ 0 w 64"/>
                <a:gd name="T23" fmla="*/ 23 h 64"/>
                <a:gd name="T24" fmla="*/ 7 w 64"/>
                <a:gd name="T25" fmla="*/ 27 h 64"/>
                <a:gd name="T26" fmla="*/ 6 w 64"/>
                <a:gd name="T27" fmla="*/ 32 h 64"/>
                <a:gd name="T28" fmla="*/ 7 w 64"/>
                <a:gd name="T29" fmla="*/ 37 h 64"/>
                <a:gd name="T30" fmla="*/ 0 w 64"/>
                <a:gd name="T31" fmla="*/ 41 h 64"/>
                <a:gd name="T32" fmla="*/ 8 w 64"/>
                <a:gd name="T33" fmla="*/ 55 h 64"/>
                <a:gd name="T34" fmla="*/ 15 w 64"/>
                <a:gd name="T35" fmla="*/ 51 h 64"/>
                <a:gd name="T36" fmla="*/ 24 w 64"/>
                <a:gd name="T37" fmla="*/ 57 h 64"/>
                <a:gd name="T38" fmla="*/ 24 w 64"/>
                <a:gd name="T39" fmla="*/ 64 h 64"/>
                <a:gd name="T40" fmla="*/ 40 w 64"/>
                <a:gd name="T41" fmla="*/ 64 h 64"/>
                <a:gd name="T42" fmla="*/ 40 w 64"/>
                <a:gd name="T43" fmla="*/ 57 h 64"/>
                <a:gd name="T44" fmla="*/ 50 w 64"/>
                <a:gd name="T45" fmla="*/ 51 h 64"/>
                <a:gd name="T46" fmla="*/ 56 w 64"/>
                <a:gd name="T47" fmla="*/ 55 h 64"/>
                <a:gd name="T48" fmla="*/ 64 w 64"/>
                <a:gd name="T49" fmla="*/ 41 h 64"/>
                <a:gd name="T50" fmla="*/ 57 w 64"/>
                <a:gd name="T51" fmla="*/ 37 h 64"/>
                <a:gd name="T52" fmla="*/ 58 w 64"/>
                <a:gd name="T53" fmla="*/ 32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64" h="64">
                  <a:moveTo>
                    <a:pt x="58" y="32"/>
                  </a:moveTo>
                  <a:cubicBezTo>
                    <a:pt x="58" y="30"/>
                    <a:pt x="58" y="28"/>
                    <a:pt x="57" y="27"/>
                  </a:cubicBezTo>
                  <a:cubicBezTo>
                    <a:pt x="64" y="23"/>
                    <a:pt x="64" y="23"/>
                    <a:pt x="64" y="23"/>
                  </a:cubicBezTo>
                  <a:cubicBezTo>
                    <a:pt x="56" y="9"/>
                    <a:pt x="56" y="9"/>
                    <a:pt x="56" y="9"/>
                  </a:cubicBezTo>
                  <a:cubicBezTo>
                    <a:pt x="50" y="13"/>
                    <a:pt x="50" y="13"/>
                    <a:pt x="50" y="13"/>
                  </a:cubicBezTo>
                  <a:cubicBezTo>
                    <a:pt x="47" y="10"/>
                    <a:pt x="44" y="8"/>
                    <a:pt x="40" y="7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24" y="7"/>
                    <a:pt x="24" y="7"/>
                    <a:pt x="24" y="7"/>
                  </a:cubicBezTo>
                  <a:cubicBezTo>
                    <a:pt x="20" y="8"/>
                    <a:pt x="17" y="10"/>
                    <a:pt x="15" y="13"/>
                  </a:cubicBezTo>
                  <a:cubicBezTo>
                    <a:pt x="8" y="9"/>
                    <a:pt x="8" y="9"/>
                    <a:pt x="8" y="9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7" y="27"/>
                    <a:pt x="7" y="27"/>
                    <a:pt x="7" y="27"/>
                  </a:cubicBezTo>
                  <a:cubicBezTo>
                    <a:pt x="6" y="28"/>
                    <a:pt x="6" y="30"/>
                    <a:pt x="6" y="32"/>
                  </a:cubicBezTo>
                  <a:cubicBezTo>
                    <a:pt x="6" y="34"/>
                    <a:pt x="6" y="36"/>
                    <a:pt x="7" y="37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8" y="55"/>
                    <a:pt x="8" y="55"/>
                    <a:pt x="8" y="55"/>
                  </a:cubicBezTo>
                  <a:cubicBezTo>
                    <a:pt x="15" y="51"/>
                    <a:pt x="15" y="51"/>
                    <a:pt x="15" y="51"/>
                  </a:cubicBezTo>
                  <a:cubicBezTo>
                    <a:pt x="17" y="54"/>
                    <a:pt x="20" y="56"/>
                    <a:pt x="24" y="57"/>
                  </a:cubicBezTo>
                  <a:cubicBezTo>
                    <a:pt x="24" y="64"/>
                    <a:pt x="24" y="64"/>
                    <a:pt x="24" y="64"/>
                  </a:cubicBezTo>
                  <a:cubicBezTo>
                    <a:pt x="40" y="64"/>
                    <a:pt x="40" y="64"/>
                    <a:pt x="40" y="64"/>
                  </a:cubicBezTo>
                  <a:cubicBezTo>
                    <a:pt x="40" y="57"/>
                    <a:pt x="40" y="57"/>
                    <a:pt x="40" y="57"/>
                  </a:cubicBezTo>
                  <a:cubicBezTo>
                    <a:pt x="44" y="56"/>
                    <a:pt x="47" y="54"/>
                    <a:pt x="50" y="51"/>
                  </a:cubicBezTo>
                  <a:cubicBezTo>
                    <a:pt x="56" y="55"/>
                    <a:pt x="56" y="55"/>
                    <a:pt x="56" y="55"/>
                  </a:cubicBezTo>
                  <a:cubicBezTo>
                    <a:pt x="64" y="41"/>
                    <a:pt x="64" y="41"/>
                    <a:pt x="64" y="41"/>
                  </a:cubicBezTo>
                  <a:cubicBezTo>
                    <a:pt x="57" y="37"/>
                    <a:pt x="57" y="37"/>
                    <a:pt x="57" y="37"/>
                  </a:cubicBezTo>
                  <a:cubicBezTo>
                    <a:pt x="58" y="36"/>
                    <a:pt x="58" y="34"/>
                    <a:pt x="58" y="32"/>
                  </a:cubicBezTo>
                  <a:close/>
                </a:path>
              </a:pathLst>
            </a:custGeom>
            <a:noFill/>
            <a:ln w="12700" cap="flat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37" name="Freeform 67">
              <a:extLst>
                <a:ext uri="{FF2B5EF4-FFF2-40B4-BE49-F238E27FC236}">
                  <a16:creationId xmlns:a16="http://schemas.microsoft.com/office/drawing/2014/main" id="{A23C0434-B22B-4C97-B325-1B3AFE6656F9}"/>
                </a:ext>
              </a:extLst>
            </p:cNvPr>
            <p:cNvSpPr>
              <a:spLocks/>
            </p:cNvSpPr>
            <p:nvPr/>
          </p:nvSpPr>
          <p:spPr bwMode="auto">
            <a:xfrm>
              <a:off x="5773738" y="3979863"/>
              <a:ext cx="134938" cy="134938"/>
            </a:xfrm>
            <a:custGeom>
              <a:avLst/>
              <a:gdLst>
                <a:gd name="T0" fmla="*/ 32 w 36"/>
                <a:gd name="T1" fmla="*/ 18 h 36"/>
                <a:gd name="T2" fmla="*/ 32 w 36"/>
                <a:gd name="T3" fmla="*/ 15 h 36"/>
                <a:gd name="T4" fmla="*/ 36 w 36"/>
                <a:gd name="T5" fmla="*/ 12 h 36"/>
                <a:gd name="T6" fmla="*/ 32 w 36"/>
                <a:gd name="T7" fmla="*/ 6 h 36"/>
                <a:gd name="T8" fmla="*/ 28 w 36"/>
                <a:gd name="T9" fmla="*/ 8 h 36"/>
                <a:gd name="T10" fmla="*/ 22 w 36"/>
                <a:gd name="T11" fmla="*/ 5 h 36"/>
                <a:gd name="T12" fmla="*/ 22 w 36"/>
                <a:gd name="T13" fmla="*/ 0 h 36"/>
                <a:gd name="T14" fmla="*/ 14 w 36"/>
                <a:gd name="T15" fmla="*/ 0 h 36"/>
                <a:gd name="T16" fmla="*/ 14 w 36"/>
                <a:gd name="T17" fmla="*/ 5 h 36"/>
                <a:gd name="T18" fmla="*/ 9 w 36"/>
                <a:gd name="T19" fmla="*/ 8 h 36"/>
                <a:gd name="T20" fmla="*/ 5 w 36"/>
                <a:gd name="T21" fmla="*/ 6 h 36"/>
                <a:gd name="T22" fmla="*/ 0 w 36"/>
                <a:gd name="T23" fmla="*/ 12 h 36"/>
                <a:gd name="T24" fmla="*/ 4 w 36"/>
                <a:gd name="T25" fmla="*/ 15 h 36"/>
                <a:gd name="T26" fmla="*/ 4 w 36"/>
                <a:gd name="T27" fmla="*/ 18 h 36"/>
                <a:gd name="T28" fmla="*/ 4 w 36"/>
                <a:gd name="T29" fmla="*/ 21 h 36"/>
                <a:gd name="T30" fmla="*/ 0 w 36"/>
                <a:gd name="T31" fmla="*/ 24 h 36"/>
                <a:gd name="T32" fmla="*/ 4 w 36"/>
                <a:gd name="T33" fmla="*/ 30 h 36"/>
                <a:gd name="T34" fmla="*/ 9 w 36"/>
                <a:gd name="T35" fmla="*/ 28 h 36"/>
                <a:gd name="T36" fmla="*/ 14 w 36"/>
                <a:gd name="T37" fmla="*/ 31 h 36"/>
                <a:gd name="T38" fmla="*/ 14 w 36"/>
                <a:gd name="T39" fmla="*/ 36 h 36"/>
                <a:gd name="T40" fmla="*/ 22 w 36"/>
                <a:gd name="T41" fmla="*/ 36 h 36"/>
                <a:gd name="T42" fmla="*/ 22 w 36"/>
                <a:gd name="T43" fmla="*/ 31 h 36"/>
                <a:gd name="T44" fmla="*/ 28 w 36"/>
                <a:gd name="T45" fmla="*/ 28 h 36"/>
                <a:gd name="T46" fmla="*/ 32 w 36"/>
                <a:gd name="T47" fmla="*/ 30 h 36"/>
                <a:gd name="T48" fmla="*/ 36 w 36"/>
                <a:gd name="T49" fmla="*/ 24 h 36"/>
                <a:gd name="T50" fmla="*/ 32 w 36"/>
                <a:gd name="T51" fmla="*/ 21 h 36"/>
                <a:gd name="T52" fmla="*/ 32 w 36"/>
                <a:gd name="T53" fmla="*/ 18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36" h="36">
                  <a:moveTo>
                    <a:pt x="32" y="18"/>
                  </a:moveTo>
                  <a:cubicBezTo>
                    <a:pt x="32" y="17"/>
                    <a:pt x="32" y="16"/>
                    <a:pt x="32" y="15"/>
                  </a:cubicBezTo>
                  <a:cubicBezTo>
                    <a:pt x="36" y="12"/>
                    <a:pt x="36" y="12"/>
                    <a:pt x="36" y="12"/>
                  </a:cubicBezTo>
                  <a:cubicBezTo>
                    <a:pt x="32" y="6"/>
                    <a:pt x="32" y="6"/>
                    <a:pt x="32" y="6"/>
                  </a:cubicBezTo>
                  <a:cubicBezTo>
                    <a:pt x="28" y="8"/>
                    <a:pt x="28" y="8"/>
                    <a:pt x="28" y="8"/>
                  </a:cubicBezTo>
                  <a:cubicBezTo>
                    <a:pt x="26" y="6"/>
                    <a:pt x="24" y="5"/>
                    <a:pt x="22" y="5"/>
                  </a:cubicBezTo>
                  <a:cubicBezTo>
                    <a:pt x="22" y="0"/>
                    <a:pt x="22" y="0"/>
                    <a:pt x="22" y="0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14" y="5"/>
                    <a:pt x="14" y="5"/>
                    <a:pt x="14" y="5"/>
                  </a:cubicBezTo>
                  <a:cubicBezTo>
                    <a:pt x="12" y="5"/>
                    <a:pt x="10" y="6"/>
                    <a:pt x="9" y="8"/>
                  </a:cubicBezTo>
                  <a:cubicBezTo>
                    <a:pt x="5" y="6"/>
                    <a:pt x="5" y="6"/>
                    <a:pt x="5" y="6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4" y="15"/>
                    <a:pt x="4" y="15"/>
                    <a:pt x="4" y="15"/>
                  </a:cubicBezTo>
                  <a:cubicBezTo>
                    <a:pt x="4" y="16"/>
                    <a:pt x="4" y="17"/>
                    <a:pt x="4" y="18"/>
                  </a:cubicBezTo>
                  <a:cubicBezTo>
                    <a:pt x="4" y="19"/>
                    <a:pt x="4" y="20"/>
                    <a:pt x="4" y="21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4" y="30"/>
                    <a:pt x="4" y="30"/>
                    <a:pt x="4" y="30"/>
                  </a:cubicBezTo>
                  <a:cubicBezTo>
                    <a:pt x="9" y="28"/>
                    <a:pt x="9" y="28"/>
                    <a:pt x="9" y="28"/>
                  </a:cubicBezTo>
                  <a:cubicBezTo>
                    <a:pt x="10" y="30"/>
                    <a:pt x="12" y="31"/>
                    <a:pt x="14" y="31"/>
                  </a:cubicBezTo>
                  <a:cubicBezTo>
                    <a:pt x="14" y="36"/>
                    <a:pt x="14" y="36"/>
                    <a:pt x="14" y="36"/>
                  </a:cubicBezTo>
                  <a:cubicBezTo>
                    <a:pt x="22" y="36"/>
                    <a:pt x="22" y="36"/>
                    <a:pt x="22" y="36"/>
                  </a:cubicBezTo>
                  <a:cubicBezTo>
                    <a:pt x="22" y="31"/>
                    <a:pt x="22" y="31"/>
                    <a:pt x="22" y="31"/>
                  </a:cubicBezTo>
                  <a:cubicBezTo>
                    <a:pt x="24" y="31"/>
                    <a:pt x="26" y="30"/>
                    <a:pt x="28" y="28"/>
                  </a:cubicBezTo>
                  <a:cubicBezTo>
                    <a:pt x="32" y="30"/>
                    <a:pt x="32" y="30"/>
                    <a:pt x="32" y="30"/>
                  </a:cubicBezTo>
                  <a:cubicBezTo>
                    <a:pt x="36" y="24"/>
                    <a:pt x="36" y="24"/>
                    <a:pt x="36" y="24"/>
                  </a:cubicBezTo>
                  <a:cubicBezTo>
                    <a:pt x="32" y="21"/>
                    <a:pt x="32" y="21"/>
                    <a:pt x="32" y="21"/>
                  </a:cubicBezTo>
                  <a:cubicBezTo>
                    <a:pt x="32" y="20"/>
                    <a:pt x="32" y="19"/>
                    <a:pt x="32" y="18"/>
                  </a:cubicBezTo>
                  <a:close/>
                </a:path>
              </a:pathLst>
            </a:custGeom>
            <a:noFill/>
            <a:ln w="12700" cap="flat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138" name="Group 137">
            <a:extLst>
              <a:ext uri="{FF2B5EF4-FFF2-40B4-BE49-F238E27FC236}">
                <a16:creationId xmlns:a16="http://schemas.microsoft.com/office/drawing/2014/main" id="{ABE181F9-C8FB-4D49-9848-95651EC71B98}"/>
              </a:ext>
            </a:extLst>
          </p:cNvPr>
          <p:cNvGrpSpPr/>
          <p:nvPr/>
        </p:nvGrpSpPr>
        <p:grpSpPr>
          <a:xfrm>
            <a:off x="5730272" y="1658715"/>
            <a:ext cx="304035" cy="171543"/>
            <a:chOff x="4119563" y="4054475"/>
            <a:chExt cx="346075" cy="195263"/>
          </a:xfrm>
        </p:grpSpPr>
        <p:sp>
          <p:nvSpPr>
            <p:cNvPr id="139" name="Oval 146">
              <a:extLst>
                <a:ext uri="{FF2B5EF4-FFF2-40B4-BE49-F238E27FC236}">
                  <a16:creationId xmlns:a16="http://schemas.microsoft.com/office/drawing/2014/main" id="{496CBD3F-F073-42B2-AE57-EA8E0390758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119563" y="4054475"/>
              <a:ext cx="346075" cy="195263"/>
            </a:xfrm>
            <a:prstGeom prst="ellipse">
              <a:avLst/>
            </a:prstGeom>
            <a:noFill/>
            <a:ln w="12700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40" name="Oval 147">
              <a:extLst>
                <a:ext uri="{FF2B5EF4-FFF2-40B4-BE49-F238E27FC236}">
                  <a16:creationId xmlns:a16="http://schemas.microsoft.com/office/drawing/2014/main" id="{6FAA8BD8-240C-40CC-88B4-7942C2DE91C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232276" y="4090988"/>
              <a:ext cx="120650" cy="120650"/>
            </a:xfrm>
            <a:prstGeom prst="ellipse">
              <a:avLst/>
            </a:prstGeom>
            <a:noFill/>
            <a:ln w="12700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41" name="Freeform 148">
              <a:extLst>
                <a:ext uri="{FF2B5EF4-FFF2-40B4-BE49-F238E27FC236}">
                  <a16:creationId xmlns:a16="http://schemas.microsoft.com/office/drawing/2014/main" id="{DE7B0B51-580C-4833-8787-52258CC58F6F}"/>
                </a:ext>
              </a:extLst>
            </p:cNvPr>
            <p:cNvSpPr>
              <a:spLocks/>
            </p:cNvSpPr>
            <p:nvPr/>
          </p:nvSpPr>
          <p:spPr bwMode="auto">
            <a:xfrm>
              <a:off x="4262438" y="4121150"/>
              <a:ext cx="60325" cy="60325"/>
            </a:xfrm>
            <a:custGeom>
              <a:avLst/>
              <a:gdLst>
                <a:gd name="T0" fmla="*/ 8 w 16"/>
                <a:gd name="T1" fmla="*/ 0 h 16"/>
                <a:gd name="T2" fmla="*/ 16 w 16"/>
                <a:gd name="T3" fmla="*/ 8 h 16"/>
                <a:gd name="T4" fmla="*/ 8 w 16"/>
                <a:gd name="T5" fmla="*/ 16 h 16"/>
                <a:gd name="T6" fmla="*/ 0 w 16"/>
                <a:gd name="T7" fmla="*/ 8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6" h="16">
                  <a:moveTo>
                    <a:pt x="8" y="0"/>
                  </a:moveTo>
                  <a:cubicBezTo>
                    <a:pt x="12" y="0"/>
                    <a:pt x="16" y="4"/>
                    <a:pt x="16" y="8"/>
                  </a:cubicBezTo>
                  <a:cubicBezTo>
                    <a:pt x="16" y="12"/>
                    <a:pt x="12" y="16"/>
                    <a:pt x="8" y="16"/>
                  </a:cubicBezTo>
                  <a:cubicBezTo>
                    <a:pt x="4" y="16"/>
                    <a:pt x="0" y="12"/>
                    <a:pt x="0" y="8"/>
                  </a:cubicBezTo>
                </a:path>
              </a:pathLst>
            </a:custGeom>
            <a:noFill/>
            <a:ln w="12700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142" name="Rectangle 141">
            <a:extLst>
              <a:ext uri="{FF2B5EF4-FFF2-40B4-BE49-F238E27FC236}">
                <a16:creationId xmlns:a16="http://schemas.microsoft.com/office/drawing/2014/main" id="{7C7D822B-2384-4FE0-A87E-FA125A3B0391}"/>
              </a:ext>
            </a:extLst>
          </p:cNvPr>
          <p:cNvSpPr/>
          <p:nvPr/>
        </p:nvSpPr>
        <p:spPr>
          <a:xfrm>
            <a:off x="3772444" y="5845423"/>
            <a:ext cx="4245853" cy="405271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/>
          <a:p>
            <a:pPr algn="ctr"/>
            <a:r>
              <a:rPr lang="en-US" sz="14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Multiple </a:t>
            </a:r>
            <a:r>
              <a:rPr lang="en-US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networks will compete </a:t>
            </a:r>
            <a:r>
              <a:rPr lang="en-US" sz="14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against each other </a:t>
            </a:r>
            <a:r>
              <a:rPr lang="en-US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for the same </a:t>
            </a:r>
            <a:r>
              <a:rPr lang="en-US" sz="14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task and get optimized over several generations</a:t>
            </a:r>
            <a:endParaRPr lang="en-US" sz="1400" dirty="0">
              <a:solidFill>
                <a:schemeClr val="tx1">
                  <a:lumMod val="65000"/>
                  <a:lumOff val="35000"/>
                </a:schemeClr>
              </a:solidFill>
              <a:effectLst/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143" name="Rectangle 142">
            <a:extLst>
              <a:ext uri="{FF2B5EF4-FFF2-40B4-BE49-F238E27FC236}">
                <a16:creationId xmlns:a16="http://schemas.microsoft.com/office/drawing/2014/main" id="{2EDBA2AA-BE1F-4478-9E37-EB689AE2B4F8}"/>
              </a:ext>
            </a:extLst>
          </p:cNvPr>
          <p:cNvSpPr/>
          <p:nvPr/>
        </p:nvSpPr>
        <p:spPr>
          <a:xfrm>
            <a:off x="3395750" y="937031"/>
            <a:ext cx="4701671" cy="405271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/>
          <a:p>
            <a:pPr algn="ctr"/>
            <a:r>
              <a:rPr lang="en-US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Model architectures and weights will be randomly generated</a:t>
            </a:r>
            <a:endParaRPr lang="en-US" sz="1400" dirty="0">
              <a:solidFill>
                <a:schemeClr val="tx1">
                  <a:lumMod val="65000"/>
                  <a:lumOff val="35000"/>
                </a:schemeClr>
              </a:solidFill>
              <a:effectLst/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123" name="Slide Number Placeholder 2">
            <a:extLst>
              <a:ext uri="{FF2B5EF4-FFF2-40B4-BE49-F238E27FC236}">
                <a16:creationId xmlns:a16="http://schemas.microsoft.com/office/drawing/2014/main" id="{717AF783-CABC-4AF2-809A-1DCEABA2CFFD}"/>
              </a:ext>
            </a:extLst>
          </p:cNvPr>
          <p:cNvSpPr txBox="1">
            <a:spLocks/>
          </p:cNvSpPr>
          <p:nvPr/>
        </p:nvSpPr>
        <p:spPr>
          <a:xfrm>
            <a:off x="11604794" y="298450"/>
            <a:ext cx="431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pl-PL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ID" dirty="0" smtClean="0">
                <a:solidFill>
                  <a:schemeClr val="tx1"/>
                </a:solidFill>
              </a:rPr>
              <a:t>0</a:t>
            </a:r>
            <a:fld id="{2CBBA7E6-4538-4F86-A84E-2F9DAC94FB18}" type="slidenum">
              <a:rPr lang="en-ID" smtClean="0">
                <a:solidFill>
                  <a:schemeClr val="tx1"/>
                </a:solidFill>
              </a:rPr>
              <a:pPr algn="ctr"/>
              <a:t>9</a:t>
            </a:fld>
            <a:endParaRPr lang="en-ID" dirty="0">
              <a:solidFill>
                <a:schemeClr val="tx1"/>
              </a:solidFill>
            </a:endParaRPr>
          </a:p>
        </p:txBody>
      </p:sp>
      <p:cxnSp>
        <p:nvCxnSpPr>
          <p:cNvPr id="128" name="Straight Connector 127">
            <a:extLst>
              <a:ext uri="{FF2B5EF4-FFF2-40B4-BE49-F238E27FC236}">
                <a16:creationId xmlns:a16="http://schemas.microsoft.com/office/drawing/2014/main" id="{E76D8B24-ABF5-4567-B965-7BD12085D9C8}"/>
              </a:ext>
            </a:extLst>
          </p:cNvPr>
          <p:cNvCxnSpPr>
            <a:cxnSpLocks/>
          </p:cNvCxnSpPr>
          <p:nvPr/>
        </p:nvCxnSpPr>
        <p:spPr>
          <a:xfrm>
            <a:off x="11798469" y="723906"/>
            <a:ext cx="0" cy="6134094"/>
          </a:xfrm>
          <a:prstGeom prst="line">
            <a:avLst/>
          </a:prstGeom>
          <a:ln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7375672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6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2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30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3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7" dur="500"/>
                                        <p:tgtEl>
                                          <p:spTgt spid="1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0" dur="500"/>
                                        <p:tgtEl>
                                          <p:spTgt spid="1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1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3" dur="500"/>
                                        <p:tgtEl>
                                          <p:spTgt spid="1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4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6" dur="500"/>
                                        <p:tgtEl>
                                          <p:spTgt spid="1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7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9" dur="500"/>
                                        <p:tgtEl>
                                          <p:spTgt spid="1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0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62" dur="500"/>
                                        <p:tgtEl>
                                          <p:spTgt spid="1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3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65" dur="500"/>
                                        <p:tgtEl>
                                          <p:spTgt spid="1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6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68" dur="500"/>
                                        <p:tgtEl>
                                          <p:spTgt spid="1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9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1" dur="500"/>
                                        <p:tgtEl>
                                          <p:spTgt spid="1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2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4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5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7" dur="500"/>
                                        <p:tgtEl>
                                          <p:spTgt spid="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8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80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1" fill="hold">
                      <p:stCondLst>
                        <p:cond delay="indefinite"/>
                      </p:stCondLst>
                      <p:childTnLst>
                        <p:par>
                          <p:cTn id="82" fill="hold">
                            <p:stCondLst>
                              <p:cond delay="0"/>
                            </p:stCondLst>
                            <p:childTnLst>
                              <p:par>
                                <p:cTn id="8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5" dur="500"/>
                                        <p:tgtEl>
                                          <p:spTgt spid="1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6" fill="hold">
                      <p:stCondLst>
                        <p:cond delay="indefinite"/>
                      </p:stCondLst>
                      <p:childTnLst>
                        <p:par>
                          <p:cTn id="87" fill="hold">
                            <p:stCondLst>
                              <p:cond delay="0"/>
                            </p:stCondLst>
                            <p:childTnLst>
                              <p:par>
                                <p:cTn id="88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0" dur="500"/>
                                        <p:tgtEl>
                                          <p:spTgt spid="1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1" fill="hold">
                      <p:stCondLst>
                        <p:cond delay="indefinite"/>
                      </p:stCondLst>
                      <p:childTnLst>
                        <p:par>
                          <p:cTn id="92" fill="hold">
                            <p:stCondLst>
                              <p:cond delay="0"/>
                            </p:stCondLst>
                            <p:childTnLst>
                              <p:par>
                                <p:cTn id="93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95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6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98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9" fill="hold">
                      <p:stCondLst>
                        <p:cond delay="indefinite"/>
                      </p:stCondLst>
                      <p:childTnLst>
                        <p:par>
                          <p:cTn id="100" fill="hold">
                            <p:stCondLst>
                              <p:cond delay="0"/>
                            </p:stCondLst>
                            <p:childTnLst>
                              <p:par>
                                <p:cTn id="10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3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6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9" dur="500"/>
                                        <p:tgtEl>
                                          <p:spTgt spid="8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0" fill="hold">
                      <p:stCondLst>
                        <p:cond delay="indefinite"/>
                      </p:stCondLst>
                      <p:childTnLst>
                        <p:par>
                          <p:cTn id="111" fill="hold">
                            <p:stCondLst>
                              <p:cond delay="0"/>
                            </p:stCondLst>
                            <p:childTnLst>
                              <p:par>
                                <p:cTn id="112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4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7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0" dur="500"/>
                                        <p:tgtEl>
                                          <p:spTgt spid="9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2" grpId="0" animBg="1"/>
      <p:bldP spid="10" grpId="0" animBg="1"/>
      <p:bldP spid="11" grpId="0" animBg="1"/>
      <p:bldP spid="12" grpId="0" animBg="1"/>
      <p:bldP spid="13" grpId="0" animBg="1"/>
      <p:bldP spid="15" grpId="0" animBg="1"/>
      <p:bldP spid="17" grpId="0" animBg="1"/>
      <p:bldP spid="19" grpId="0" animBg="1"/>
      <p:bldP spid="21" grpId="0" animBg="1"/>
      <p:bldP spid="26" grpId="0"/>
      <p:bldP spid="27" grpId="0"/>
      <p:bldP spid="28" grpId="0"/>
      <p:bldP spid="29" grpId="0"/>
      <p:bldP spid="30" grpId="0"/>
      <p:bldP spid="120" grpId="0" animBg="1"/>
      <p:bldP spid="124" grpId="0" animBg="1"/>
      <p:bldP spid="125" grpId="0" animBg="1"/>
      <p:bldP spid="126" grpId="0" animBg="1"/>
      <p:bldP spid="127" grpId="0" animBg="1"/>
      <p:bldP spid="142" grpId="0"/>
      <p:bldP spid="143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752</TotalTime>
  <Words>414</Words>
  <Application>Microsoft Office PowerPoint</Application>
  <PresentationFormat>Widescreen</PresentationFormat>
  <Paragraphs>84</Paragraphs>
  <Slides>15</Slides>
  <Notes>8</Notes>
  <HiddenSlides>0</HiddenSlides>
  <MMClips>0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5</vt:i4>
      </vt:variant>
    </vt:vector>
  </HeadingPairs>
  <TitlesOfParts>
    <vt:vector size="26" baseType="lpstr">
      <vt:lpstr>Arial</vt:lpstr>
      <vt:lpstr>Calibri</vt:lpstr>
      <vt:lpstr>Calibri Light</vt:lpstr>
      <vt:lpstr>Georgia</vt:lpstr>
      <vt:lpstr>Lato</vt:lpstr>
      <vt:lpstr>Lato Light</vt:lpstr>
      <vt:lpstr>Segoe UI Light</vt:lpstr>
      <vt:lpstr>Source Sans Pro</vt:lpstr>
      <vt:lpstr>Source Sans Pro Black</vt:lpstr>
      <vt:lpstr>Office Theme</vt:lpstr>
      <vt:lpstr>think-cell Slide</vt:lpstr>
      <vt:lpstr>Optimizing Neural Network Weights &amp; Architecture Using Evolutionary Algorithm</vt:lpstr>
      <vt:lpstr>Contents</vt:lpstr>
      <vt:lpstr>Hyper parameter tuning the nightmare ..</vt:lpstr>
      <vt:lpstr>PowerPoint Presentation</vt:lpstr>
      <vt:lpstr>How is it done normally?</vt:lpstr>
      <vt:lpstr>PowerPoint Presentation</vt:lpstr>
      <vt:lpstr>What was the plan?</vt:lpstr>
      <vt:lpstr>PowerPoint Presentation</vt:lpstr>
      <vt:lpstr>PowerPoint Presentation</vt:lpstr>
      <vt:lpstr>Building Blocks</vt:lpstr>
      <vt:lpstr>PowerPoint Presentation</vt:lpstr>
      <vt:lpstr>Demo …</vt:lpstr>
      <vt:lpstr>Where do we go from here ?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wesomeness</dc:title>
  <dc:creator>Andrzej Pach</dc:creator>
  <cp:lastModifiedBy>Avish Kadakia</cp:lastModifiedBy>
  <cp:revision>77</cp:revision>
  <dcterms:created xsi:type="dcterms:W3CDTF">2019-03-17T18:26:04Z</dcterms:created>
  <dcterms:modified xsi:type="dcterms:W3CDTF">2021-03-22T17:55:21Z</dcterms:modified>
</cp:coreProperties>
</file>